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8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23"/>
  </p:notesMasterIdLst>
  <p:sldIdLst>
    <p:sldId id="259" r:id="rId2"/>
    <p:sldId id="1314" r:id="rId3"/>
    <p:sldId id="265" r:id="rId4"/>
    <p:sldId id="382" r:id="rId5"/>
    <p:sldId id="261" r:id="rId6"/>
    <p:sldId id="1315" r:id="rId7"/>
    <p:sldId id="406" r:id="rId8"/>
    <p:sldId id="1316" r:id="rId9"/>
    <p:sldId id="407" r:id="rId10"/>
    <p:sldId id="408" r:id="rId11"/>
    <p:sldId id="283" r:id="rId12"/>
    <p:sldId id="1318" r:id="rId13"/>
    <p:sldId id="410" r:id="rId14"/>
    <p:sldId id="1313" r:id="rId15"/>
    <p:sldId id="411" r:id="rId16"/>
    <p:sldId id="412" r:id="rId17"/>
    <p:sldId id="413" r:id="rId18"/>
    <p:sldId id="1317" r:id="rId19"/>
    <p:sldId id="1319" r:id="rId20"/>
    <p:sldId id="414" r:id="rId21"/>
    <p:sldId id="280" r:id="rId22"/>
  </p:sldIdLst>
  <p:sldSz cx="12192000" cy="6858000"/>
  <p:notesSz cx="6858000" cy="91440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502E721-09F6-D74B-A190-9458D8D5F8CF}" v="14" dt="2023-09-27T15:41:25.21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49" autoAdjust="0"/>
    <p:restoredTop sz="94694"/>
  </p:normalViewPr>
  <p:slideViewPr>
    <p:cSldViewPr snapToGrid="0" snapToObjects="1">
      <p:cViewPr varScale="1">
        <p:scale>
          <a:sx n="111" d="100"/>
          <a:sy n="111" d="100"/>
        </p:scale>
        <p:origin x="624" y="208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F76543-5EF1-DA4A-8415-0A3EFD492F07}" type="datetimeFigureOut">
              <a:rPr lang="en-US" smtClean="0"/>
              <a:t>11/2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6A62D3-769D-F349-A3F8-B6F214D63D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55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20603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92119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1642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4075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86758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29233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1719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25047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90493" marR="0" lvl="0" indent="-290493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9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6A62D3-769D-F349-A3F8-B6F214D63D0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7456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69688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44809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4"/>
            <a:ext cx="9522781" cy="1680909"/>
          </a:xfrm>
        </p:spPr>
        <p:txBody>
          <a:bodyPr anchor="b"/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z="2400" dirty="0"/>
              <a:t>Presenter or subtitle goes her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3"/>
            <a:ext cx="1832218" cy="243349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AD5D98F-B901-4040-88CE-DBE6B1D776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6424" y="635936"/>
            <a:ext cx="3172963" cy="43996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BWH, MGH Departments of Neurology</a:t>
            </a:r>
          </a:p>
        </p:txBody>
      </p:sp>
    </p:spTree>
    <p:extLst>
      <p:ext uri="{BB962C8B-B14F-4D97-AF65-F5344CB8AC3E}">
        <p14:creationId xmlns:p14="http://schemas.microsoft.com/office/powerpoint/2010/main" val="32346722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3056A7-D588-4A4A-9743-81A8FDEA06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B63015DA-BAD6-D641-B5F3-2ED5079D3C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 b="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E5473F-D95C-3441-AFDD-17B1087611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BWH, MGH Departments of Neurology</a:t>
            </a:r>
          </a:p>
        </p:txBody>
      </p:sp>
    </p:spTree>
    <p:extLst>
      <p:ext uri="{BB962C8B-B14F-4D97-AF65-F5344CB8AC3E}">
        <p14:creationId xmlns:p14="http://schemas.microsoft.com/office/powerpoint/2010/main" val="241552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15F6962C-2D7D-9C4E-A349-25554E83F8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169E62-1DA9-CD45-BB12-5DDC2926A42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BWH, MGH Departments of Neurology</a:t>
            </a:r>
          </a:p>
        </p:txBody>
      </p:sp>
    </p:spTree>
    <p:extLst>
      <p:ext uri="{BB962C8B-B14F-4D97-AF65-F5344CB8AC3E}">
        <p14:creationId xmlns:p14="http://schemas.microsoft.com/office/powerpoint/2010/main" val="21653022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24406D9-1546-F048-999E-B1C3935E3C50}"/>
              </a:ext>
            </a:extLst>
          </p:cNvPr>
          <p:cNvGrpSpPr/>
          <p:nvPr/>
        </p:nvGrpSpPr>
        <p:grpSpPr>
          <a:xfrm>
            <a:off x="8157625" y="524289"/>
            <a:ext cx="4034375" cy="5796153"/>
            <a:chOff x="7627349" y="524289"/>
            <a:chExt cx="4034375" cy="5796153"/>
          </a:xfrm>
          <a:solidFill>
            <a:schemeClr val="bg1"/>
          </a:solidFill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D84C793A-4639-4F48-91B8-FD66287147D7}"/>
                </a:ext>
              </a:extLst>
            </p:cNvPr>
            <p:cNvSpPr/>
            <p:nvPr/>
          </p:nvSpPr>
          <p:spPr>
            <a:xfrm>
              <a:off x="7627349" y="2695674"/>
              <a:ext cx="541849" cy="1751874"/>
            </a:xfrm>
            <a:custGeom>
              <a:avLst/>
              <a:gdLst>
                <a:gd name="connsiteX0" fmla="*/ 541850 w 541849"/>
                <a:gd name="connsiteY0" fmla="*/ 0 h 1751874"/>
                <a:gd name="connsiteX1" fmla="*/ 0 w 541849"/>
                <a:gd name="connsiteY1" fmla="*/ 0 h 1751874"/>
                <a:gd name="connsiteX2" fmla="*/ 0 w 541849"/>
                <a:gd name="connsiteY2" fmla="*/ 919195 h 1751874"/>
                <a:gd name="connsiteX3" fmla="*/ 0 w 541849"/>
                <a:gd name="connsiteY3" fmla="*/ 1751874 h 1751874"/>
                <a:gd name="connsiteX4" fmla="*/ 541850 w 541849"/>
                <a:gd name="connsiteY4" fmla="*/ 1751874 h 1751874"/>
                <a:gd name="connsiteX5" fmla="*/ 54185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541850" y="0"/>
                  </a:moveTo>
                  <a:lnTo>
                    <a:pt x="0" y="0"/>
                  </a:ln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D7DF4404-7F59-6C45-BC46-3436E9AA2E4D}"/>
                </a:ext>
              </a:extLst>
            </p:cNvPr>
            <p:cNvSpPr/>
            <p:nvPr/>
          </p:nvSpPr>
          <p:spPr>
            <a:xfrm>
              <a:off x="8791354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54618A3F-A28E-5C47-B782-E34CDA443E92}"/>
                </a:ext>
              </a:extLst>
            </p:cNvPr>
            <p:cNvSpPr/>
            <p:nvPr/>
          </p:nvSpPr>
          <p:spPr>
            <a:xfrm>
              <a:off x="9955360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98396A27-49EC-F348-860F-8E26802DC608}"/>
                </a:ext>
              </a:extLst>
            </p:cNvPr>
            <p:cNvSpPr/>
            <p:nvPr/>
          </p:nvSpPr>
          <p:spPr>
            <a:xfrm>
              <a:off x="7627349" y="1874158"/>
              <a:ext cx="4033867" cy="493467"/>
            </a:xfrm>
            <a:custGeom>
              <a:avLst/>
              <a:gdLst>
                <a:gd name="connsiteX0" fmla="*/ 0 w 4033867"/>
                <a:gd name="connsiteY0" fmla="*/ 493468 h 493467"/>
                <a:gd name="connsiteX1" fmla="*/ 2016934 w 4033867"/>
                <a:gd name="connsiteY1" fmla="*/ 493468 h 493467"/>
                <a:gd name="connsiteX2" fmla="*/ 4033868 w 4033867"/>
                <a:gd name="connsiteY2" fmla="*/ 493468 h 493467"/>
                <a:gd name="connsiteX3" fmla="*/ 4033868 w 4033867"/>
                <a:gd name="connsiteY3" fmla="*/ 0 h 493467"/>
                <a:gd name="connsiteX4" fmla="*/ 0 w 4033867"/>
                <a:gd name="connsiteY4" fmla="*/ 0 h 493467"/>
                <a:gd name="connsiteX5" fmla="*/ 0 w 4033867"/>
                <a:gd name="connsiteY5" fmla="*/ 493468 h 49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33867" h="493467">
                  <a:moveTo>
                    <a:pt x="0" y="493468"/>
                  </a:moveTo>
                  <a:lnTo>
                    <a:pt x="2016934" y="493468"/>
                  </a:lnTo>
                  <a:lnTo>
                    <a:pt x="4033868" y="493468"/>
                  </a:lnTo>
                  <a:lnTo>
                    <a:pt x="4033868" y="0"/>
                  </a:lnTo>
                  <a:lnTo>
                    <a:pt x="0" y="0"/>
                  </a:lnTo>
                  <a:lnTo>
                    <a:pt x="0" y="493468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9ACD75FE-FCEC-BF4D-91B4-4520B4DB5F1E}"/>
                </a:ext>
              </a:extLst>
            </p:cNvPr>
            <p:cNvSpPr/>
            <p:nvPr/>
          </p:nvSpPr>
          <p:spPr>
            <a:xfrm>
              <a:off x="7627349" y="524289"/>
              <a:ext cx="4033867" cy="1181785"/>
            </a:xfrm>
            <a:custGeom>
              <a:avLst/>
              <a:gdLst>
                <a:gd name="connsiteX0" fmla="*/ 2016934 w 4033867"/>
                <a:gd name="connsiteY0" fmla="*/ 0 h 1181785"/>
                <a:gd name="connsiteX1" fmla="*/ 0 w 4033867"/>
                <a:gd name="connsiteY1" fmla="*/ 672207 h 1181785"/>
                <a:gd name="connsiteX2" fmla="*/ 0 w 4033867"/>
                <a:gd name="connsiteY2" fmla="*/ 1181786 h 1181785"/>
                <a:gd name="connsiteX3" fmla="*/ 2016934 w 4033867"/>
                <a:gd name="connsiteY3" fmla="*/ 509579 h 1181785"/>
                <a:gd name="connsiteX4" fmla="*/ 4033868 w 4033867"/>
                <a:gd name="connsiteY4" fmla="*/ 1181786 h 1181785"/>
                <a:gd name="connsiteX5" fmla="*/ 4033868 w 4033867"/>
                <a:gd name="connsiteY5" fmla="*/ 672207 h 1181785"/>
                <a:gd name="connsiteX6" fmla="*/ 2016934 w 4033867"/>
                <a:gd name="connsiteY6" fmla="*/ 0 h 1181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33867" h="1181785">
                  <a:moveTo>
                    <a:pt x="2016934" y="0"/>
                  </a:moveTo>
                  <a:lnTo>
                    <a:pt x="0" y="672207"/>
                  </a:lnTo>
                  <a:lnTo>
                    <a:pt x="0" y="1181786"/>
                  </a:lnTo>
                  <a:lnTo>
                    <a:pt x="2016934" y="509579"/>
                  </a:lnTo>
                  <a:lnTo>
                    <a:pt x="4033868" y="1181786"/>
                  </a:lnTo>
                  <a:lnTo>
                    <a:pt x="4033868" y="672207"/>
                  </a:lnTo>
                  <a:lnTo>
                    <a:pt x="2016934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8FC8E4B5-0CBF-864B-9110-D197114B5BD8}"/>
                </a:ext>
              </a:extLst>
            </p:cNvPr>
            <p:cNvSpPr/>
            <p:nvPr/>
          </p:nvSpPr>
          <p:spPr>
            <a:xfrm>
              <a:off x="7627349" y="440860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116 h 1071548"/>
                <a:gd name="connsiteX6" fmla="*/ 2539753 w 4034375"/>
                <a:gd name="connsiteY6" fmla="*/ 871116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557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1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116"/>
                  </a:cubicBezTo>
                  <a:lnTo>
                    <a:pt x="2539753" y="871116"/>
                  </a:lnTo>
                  <a:cubicBezTo>
                    <a:pt x="3827582" y="871116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DFD3E64-0D9B-8344-AE26-7E6565667679}"/>
                </a:ext>
              </a:extLst>
            </p:cNvPr>
            <p:cNvSpPr/>
            <p:nvPr/>
          </p:nvSpPr>
          <p:spPr>
            <a:xfrm>
              <a:off x="7627349" y="524889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243 h 1071548"/>
                <a:gd name="connsiteX6" fmla="*/ 2539753 w 4034375"/>
                <a:gd name="connsiteY6" fmla="*/ 871243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684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2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243"/>
                  </a:cubicBezTo>
                  <a:lnTo>
                    <a:pt x="2539753" y="871243"/>
                  </a:lnTo>
                  <a:cubicBezTo>
                    <a:pt x="3827582" y="871243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9A52CD8B-2E97-4342-8DBF-61223C03F534}"/>
                </a:ext>
              </a:extLst>
            </p:cNvPr>
            <p:cNvSpPr/>
            <p:nvPr/>
          </p:nvSpPr>
          <p:spPr>
            <a:xfrm>
              <a:off x="11119366" y="2695674"/>
              <a:ext cx="541849" cy="1661807"/>
            </a:xfrm>
            <a:custGeom>
              <a:avLst/>
              <a:gdLst>
                <a:gd name="connsiteX0" fmla="*/ 0 w 541849"/>
                <a:gd name="connsiteY0" fmla="*/ 0 h 1661807"/>
                <a:gd name="connsiteX1" fmla="*/ 0 w 541849"/>
                <a:gd name="connsiteY1" fmla="*/ 1661807 h 1661807"/>
                <a:gd name="connsiteX2" fmla="*/ 541849 w 541849"/>
                <a:gd name="connsiteY2" fmla="*/ 1382725 h 1661807"/>
                <a:gd name="connsiteX3" fmla="*/ 541849 w 541849"/>
                <a:gd name="connsiteY3" fmla="*/ 0 h 1661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849" h="1661807">
                  <a:moveTo>
                    <a:pt x="0" y="0"/>
                  </a:moveTo>
                  <a:lnTo>
                    <a:pt x="0" y="1661807"/>
                  </a:lnTo>
                  <a:cubicBezTo>
                    <a:pt x="444035" y="1559688"/>
                    <a:pt x="534618" y="1402261"/>
                    <a:pt x="541849" y="1382725"/>
                  </a:cubicBezTo>
                  <a:lnTo>
                    <a:pt x="541849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892808"/>
            <a:ext cx="7315200" cy="2852737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divider</a:t>
            </a:r>
          </a:p>
        </p:txBody>
      </p:sp>
    </p:spTree>
    <p:extLst>
      <p:ext uri="{BB962C8B-B14F-4D97-AF65-F5344CB8AC3E}">
        <p14:creationId xmlns:p14="http://schemas.microsoft.com/office/powerpoint/2010/main" val="38065379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7444408" cy="2576378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quot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42999A3-BC06-724D-AB6B-6565ED0B151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dirty="0"/>
              <a:t>Author of quot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63A591-BBA0-C146-B4F7-E67520528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BWH, MGH Departments of Neurology</a:t>
            </a:r>
          </a:p>
        </p:txBody>
      </p:sp>
    </p:spTree>
    <p:extLst>
      <p:ext uri="{BB962C8B-B14F-4D97-AF65-F5344CB8AC3E}">
        <p14:creationId xmlns:p14="http://schemas.microsoft.com/office/powerpoint/2010/main" val="17381801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oi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796841"/>
            <a:ext cx="10911840" cy="2852737"/>
          </a:xfrm>
        </p:spPr>
        <p:txBody>
          <a:bodyPr anchor="ctr"/>
          <a:lstStyle>
            <a:lvl1pPr>
              <a:lnSpc>
                <a:spcPct val="10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Factoid teal—Georgia font in sentence case. Use this slide for hero statement.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0A040A92-7E8A-6B43-AD38-D5F4F6C96A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6BDDC8-3CC6-624A-9AFB-E2F2B73BA9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BWH, MGH Departments of Neurology</a:t>
            </a:r>
          </a:p>
        </p:txBody>
      </p:sp>
    </p:spTree>
    <p:extLst>
      <p:ext uri="{BB962C8B-B14F-4D97-AF65-F5344CB8AC3E}">
        <p14:creationId xmlns:p14="http://schemas.microsoft.com/office/powerpoint/2010/main" val="28915692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8020C179-BE0C-9D49-90D3-2A15CB49F2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97352" y="3027076"/>
            <a:ext cx="5797296" cy="80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3384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4ED530-EFF5-5620-AE83-C571FF8001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001B6A-01D7-D2A1-54E9-2717D2C612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89762E-8B2E-F305-9D2F-90177E273D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24FDCE-0311-D943-B379-962708B852FF}" type="datetimeFigureOut">
              <a:rPr lang="en-US" smtClean="0"/>
              <a:t>11/2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F9CBA5-538B-F4C5-3DA4-2E3DBF98B9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02BA03-517A-A2A9-DA1B-8B8396FB6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F06397-0708-2849-A738-D4DC5D50A1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43651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32587A6-FADF-CA4B-92D7-011DFD3E1E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70384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32587A6-FADF-CA4B-92D7-011DFD3E1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336F34-49E0-4A7C-A020-3CF62B0F8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6FCD3D-BE75-4AB7-AF91-4934F3ADAA50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4pPr marL="917575" indent="-233363">
              <a:buFont typeface="Wingdings" pitchFamily="2" charset="2"/>
              <a:buChar char="§"/>
              <a:defRPr/>
            </a:lvl4pPr>
            <a:lvl5pPr marL="1146175" indent="-234950">
              <a:buSzPct val="90000"/>
              <a:buFont typeface="System Font Regular"/>
              <a:buChar char="–"/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7898C508-098E-8641-956A-DD8F7B008B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9F9743-0A9D-2345-B04A-C049C5CEE7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BWH, MGH Departments of Neurology</a:t>
            </a:r>
          </a:p>
        </p:txBody>
      </p:sp>
    </p:spTree>
    <p:extLst>
      <p:ext uri="{BB962C8B-B14F-4D97-AF65-F5344CB8AC3E}">
        <p14:creationId xmlns:p14="http://schemas.microsoft.com/office/powerpoint/2010/main" val="23794344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7C3BE6-2E2A-4A2D-A3F5-C50D273712D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0079" y="2029842"/>
            <a:ext cx="5184648" cy="3715321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75C9D9-E2F8-49F1-974F-B06A783A1E1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0079" y="1719072"/>
            <a:ext cx="5184648" cy="310771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headli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7A10F-FA16-489F-B6F5-AF30FC09B40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61112" y="1719072"/>
            <a:ext cx="5183188" cy="310770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head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28EC26D-D076-400E-AA91-3DB2533CB7BA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61112" y="2029842"/>
            <a:ext cx="5183188" cy="3715321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ECB684-FDD4-594C-98A0-429D85877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B608995E-8074-C54D-B812-031E33AAB3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A610992-4247-0644-B81C-8D5480478C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BWH, MGH Departments of Neurology</a:t>
            </a:r>
          </a:p>
        </p:txBody>
      </p:sp>
    </p:spTree>
    <p:extLst>
      <p:ext uri="{BB962C8B-B14F-4D97-AF65-F5344CB8AC3E}">
        <p14:creationId xmlns:p14="http://schemas.microsoft.com/office/powerpoint/2010/main" val="1139059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  <p15:guide id="5" pos="3997">
          <p15:clr>
            <a:srgbClr val="FBAE40"/>
          </p15:clr>
        </p15:guide>
        <p15:guide id="6" pos="367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80" y="1719072"/>
            <a:ext cx="5184648" cy="402336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1719072"/>
            <a:ext cx="5184648" cy="402336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3718913-5E8E-2E44-862B-D47884C2F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32BC4998-B6F1-DA42-B41F-97DBCEF72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EBE4E73-5259-334F-AE3B-9FF8EABC02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BWH, MGH Departments of Neurology</a:t>
            </a:r>
          </a:p>
        </p:txBody>
      </p:sp>
    </p:spTree>
    <p:extLst>
      <p:ext uri="{BB962C8B-B14F-4D97-AF65-F5344CB8AC3E}">
        <p14:creationId xmlns:p14="http://schemas.microsoft.com/office/powerpoint/2010/main" val="882049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74">
          <p15:clr>
            <a:srgbClr val="FBAE40"/>
          </p15:clr>
        </p15:guide>
        <p15:guide id="3" pos="400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B01DFA6-8F9A-4F40-94EB-5AC4A5BBC72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BWH, MGH Departments of Neurology</a:t>
            </a:r>
          </a:p>
        </p:txBody>
      </p:sp>
    </p:spTree>
    <p:extLst>
      <p:ext uri="{BB962C8B-B14F-4D97-AF65-F5344CB8AC3E}">
        <p14:creationId xmlns:p14="http://schemas.microsoft.com/office/powerpoint/2010/main" val="943295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705231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2CE710-5EBE-7347-8470-8ABE73F49B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BWH, MGH Departments of Neurology</a:t>
            </a:r>
          </a:p>
        </p:txBody>
      </p:sp>
    </p:spTree>
    <p:extLst>
      <p:ext uri="{BB962C8B-B14F-4D97-AF65-F5344CB8AC3E}">
        <p14:creationId xmlns:p14="http://schemas.microsoft.com/office/powerpoint/2010/main" val="3357973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9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7D6A64-436E-B549-A738-5BD4E26E780C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40081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9952872-2D99-6A44-AF8E-4C81084A6F5D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9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F3B5EBD-761F-0640-A0DD-A2788D2EC78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EBDA8CCF-CB0C-BA45-8FC4-6297C0E0A9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9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BA7599CD-99BD-894F-B372-42E0EEA2CE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FDCCCC4-4E98-AF48-BBF9-0C662158A2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62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182F045-38A8-AF47-A713-4B59F2866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8BDEB4C-56D6-2044-957E-BC1323994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8188A1-BE1F-C149-9AF3-45615472F9A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BWH, MGH Departments of Neurology</a:t>
            </a:r>
          </a:p>
        </p:txBody>
      </p:sp>
    </p:spTree>
    <p:extLst>
      <p:ext uri="{BB962C8B-B14F-4D97-AF65-F5344CB8AC3E}">
        <p14:creationId xmlns:p14="http://schemas.microsoft.com/office/powerpoint/2010/main" val="2135120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97">
          <p15:clr>
            <a:srgbClr val="FBAE40"/>
          </p15:clr>
        </p15:guide>
        <p15:guide id="3" pos="2421">
          <p15:clr>
            <a:srgbClr val="FBAE40"/>
          </p15:clr>
        </p15:guide>
        <p15:guide id="4" pos="4849">
          <p15:clr>
            <a:srgbClr val="FBAE40"/>
          </p15:clr>
        </p15:guide>
        <p15:guide id="6" orient="horz" pos="3086">
          <p15:clr>
            <a:srgbClr val="FBAE40"/>
          </p15:clr>
        </p15:guide>
        <p15:guide id="7" orient="horz" pos="3246">
          <p15:clr>
            <a:srgbClr val="FBAE40"/>
          </p15:clr>
        </p15:guide>
        <p15:guide id="10" pos="5250">
          <p15:clr>
            <a:srgbClr val="FBAE40"/>
          </p15:clr>
        </p15:guide>
        <p15:guide id="11" pos="282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/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CB66F7F6-8B6A-B445-A778-7A10C4FCF71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6C0EC67-5E7D-4248-962B-AE294DEFEA5C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EF9940F-D9D9-B343-B51A-10E10791BBBA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89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F6B0467-EE62-FA42-87FD-561619A6F8F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chart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9FF451F5-7748-C949-A955-B66D566CC1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89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F2712F-0BAD-3D43-AA96-DAC8654C44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07704E5-505F-E644-8B15-34742134E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739B3E2D-28D6-FC4F-A2A2-C7D0817162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6F5F35-DBF5-C84A-BD5D-8F32E68A84A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BWH, MGH Departments of Neurology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F50F76B-FA29-B84B-8387-E972C023858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7700" y="1729029"/>
            <a:ext cx="3195638" cy="4016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1762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421">
          <p15:clr>
            <a:srgbClr val="FBAE40"/>
          </p15:clr>
        </p15:guide>
        <p15:guide id="5" pos="2826">
          <p15:clr>
            <a:srgbClr val="FBAE40"/>
          </p15:clr>
        </p15:guide>
        <p15:guide id="6" pos="4849">
          <p15:clr>
            <a:srgbClr val="FBAE40"/>
          </p15:clr>
        </p15:guide>
        <p15:guide id="8" pos="525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2D978A-4E91-7243-A687-476C0D745A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able title</a:t>
            </a:r>
            <a:endParaRPr lang="en-US" dirty="0"/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8DD65DAE-F216-2E49-ACAE-54335084F531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40080" y="1719072"/>
            <a:ext cx="10902950" cy="4026091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47BB281B-EE6E-F544-82BA-54DA61494E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29D87B-3C1F-B940-B037-28498C722E9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BWH, MGH Departments of Neurology</a:t>
            </a:r>
          </a:p>
        </p:txBody>
      </p:sp>
    </p:spTree>
    <p:extLst>
      <p:ext uri="{BB962C8B-B14F-4D97-AF65-F5344CB8AC3E}">
        <p14:creationId xmlns:p14="http://schemas.microsoft.com/office/powerpoint/2010/main" val="5214542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DEEDC80-A6AE-4D71-8BED-4E85BC9C5D6B}"/>
              </a:ext>
            </a:extLst>
          </p:cNvPr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28120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530" imgH="531" progId="TCLayout.ActiveDocument.1">
                  <p:embed/>
                </p:oleObj>
              </mc:Choice>
              <mc:Fallback>
                <p:oleObj name="think-cell Slide" r:id="rId20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DEEDC80-A6AE-4D71-8BED-4E85BC9C5D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8D99B60-9158-488E-8BCC-87D5B5BCDFBF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8B7701-A632-3D47-AED3-D4B4366A6C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36324" y="6362188"/>
            <a:ext cx="7707596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lang="en-US"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BWH, MGH Departments of Neurology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BB7F75-52C6-40D5-8388-347CF6B3B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523875"/>
            <a:ext cx="10902950" cy="9565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809464-EA83-4E37-8A02-61A16616FE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1350" y="1719072"/>
            <a:ext cx="10902950" cy="40233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0DC250-A7AB-924E-9520-907FE62E8E91}"/>
              </a:ext>
            </a:extLst>
          </p:cNvPr>
          <p:cNvSpPr txBox="1"/>
          <p:nvPr/>
        </p:nvSpPr>
        <p:spPr>
          <a:xfrm>
            <a:off x="11200986" y="6362188"/>
            <a:ext cx="35093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9D3C46F-8465-6948-8418-CACF6F0DE93E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B496F443-CBC9-D942-BCF6-03ABB20B2848}"/>
              </a:ext>
            </a:extLst>
          </p:cNvPr>
          <p:cNvSpPr/>
          <p:nvPr userDrawn="1"/>
        </p:nvSpPr>
        <p:spPr>
          <a:xfrm>
            <a:off x="640080" y="6246683"/>
            <a:ext cx="241400" cy="345756"/>
          </a:xfrm>
          <a:custGeom>
            <a:avLst/>
            <a:gdLst>
              <a:gd name="connsiteX0" fmla="*/ 241400 w 241400"/>
              <a:gd name="connsiteY0" fmla="*/ 281835 h 345756"/>
              <a:gd name="connsiteX1" fmla="*/ 241400 w 241400"/>
              <a:gd name="connsiteY1" fmla="*/ 311912 h 345756"/>
              <a:gd name="connsiteX2" fmla="*/ 151992 w 241400"/>
              <a:gd name="connsiteY2" fmla="*/ 333806 h 345756"/>
              <a:gd name="connsiteX3" fmla="*/ 89407 w 241400"/>
              <a:gd name="connsiteY3" fmla="*/ 333806 h 345756"/>
              <a:gd name="connsiteX4" fmla="*/ 0 w 241400"/>
              <a:gd name="connsiteY4" fmla="*/ 345756 h 345756"/>
              <a:gd name="connsiteX5" fmla="*/ 0 w 241400"/>
              <a:gd name="connsiteY5" fmla="*/ 315680 h 345756"/>
              <a:gd name="connsiteX6" fmla="*/ 89407 w 241400"/>
              <a:gd name="connsiteY6" fmla="*/ 303730 h 345756"/>
              <a:gd name="connsiteX7" fmla="*/ 151992 w 241400"/>
              <a:gd name="connsiteY7" fmla="*/ 303730 h 345756"/>
              <a:gd name="connsiteX8" fmla="*/ 241400 w 241400"/>
              <a:gd name="connsiteY8" fmla="*/ 281835 h 345756"/>
              <a:gd name="connsiteX9" fmla="*/ 241400 w 241400"/>
              <a:gd name="connsiteY9" fmla="*/ 231708 h 345756"/>
              <a:gd name="connsiteX10" fmla="*/ 241400 w 241400"/>
              <a:gd name="connsiteY10" fmla="*/ 261785 h 345756"/>
              <a:gd name="connsiteX11" fmla="*/ 151992 w 241400"/>
              <a:gd name="connsiteY11" fmla="*/ 283679 h 345756"/>
              <a:gd name="connsiteX12" fmla="*/ 89407 w 241400"/>
              <a:gd name="connsiteY12" fmla="*/ 283679 h 345756"/>
              <a:gd name="connsiteX13" fmla="*/ 0 w 241400"/>
              <a:gd name="connsiteY13" fmla="*/ 295631 h 345756"/>
              <a:gd name="connsiteX14" fmla="*/ 0 w 241400"/>
              <a:gd name="connsiteY14" fmla="*/ 265553 h 345756"/>
              <a:gd name="connsiteX15" fmla="*/ 89407 w 241400"/>
              <a:gd name="connsiteY15" fmla="*/ 253603 h 345756"/>
              <a:gd name="connsiteX16" fmla="*/ 151992 w 241400"/>
              <a:gd name="connsiteY16" fmla="*/ 253603 h 345756"/>
              <a:gd name="connsiteX17" fmla="*/ 241400 w 241400"/>
              <a:gd name="connsiteY17" fmla="*/ 231708 h 345756"/>
              <a:gd name="connsiteX18" fmla="*/ 208972 w 241400"/>
              <a:gd name="connsiteY18" fmla="*/ 129529 h 345756"/>
              <a:gd name="connsiteX19" fmla="*/ 241399 w 241400"/>
              <a:gd name="connsiteY19" fmla="*/ 129529 h 345756"/>
              <a:gd name="connsiteX20" fmla="*/ 241399 w 241400"/>
              <a:gd name="connsiteY20" fmla="*/ 211987 h 345756"/>
              <a:gd name="connsiteX21" fmla="*/ 208972 w 241400"/>
              <a:gd name="connsiteY21" fmla="*/ 228655 h 345756"/>
              <a:gd name="connsiteX22" fmla="*/ 139314 w 241400"/>
              <a:gd name="connsiteY22" fmla="*/ 129529 h 345756"/>
              <a:gd name="connsiteX23" fmla="*/ 171742 w 241400"/>
              <a:gd name="connsiteY23" fmla="*/ 129529 h 345756"/>
              <a:gd name="connsiteX24" fmla="*/ 171742 w 241400"/>
              <a:gd name="connsiteY24" fmla="*/ 234032 h 345756"/>
              <a:gd name="connsiteX25" fmla="*/ 139314 w 241400"/>
              <a:gd name="connsiteY25" fmla="*/ 234032 h 345756"/>
              <a:gd name="connsiteX26" fmla="*/ 139314 w 241400"/>
              <a:gd name="connsiteY26" fmla="*/ 184360 h 345756"/>
              <a:gd name="connsiteX27" fmla="*/ 69657 w 241400"/>
              <a:gd name="connsiteY27" fmla="*/ 129529 h 345756"/>
              <a:gd name="connsiteX28" fmla="*/ 102085 w 241400"/>
              <a:gd name="connsiteY28" fmla="*/ 129529 h 345756"/>
              <a:gd name="connsiteX29" fmla="*/ 102085 w 241400"/>
              <a:gd name="connsiteY29" fmla="*/ 234032 h 345756"/>
              <a:gd name="connsiteX30" fmla="*/ 69657 w 241400"/>
              <a:gd name="connsiteY30" fmla="*/ 234032 h 345756"/>
              <a:gd name="connsiteX31" fmla="*/ 69657 w 241400"/>
              <a:gd name="connsiteY31" fmla="*/ 184360 h 345756"/>
              <a:gd name="connsiteX32" fmla="*/ 0 w 241400"/>
              <a:gd name="connsiteY32" fmla="*/ 129529 h 345756"/>
              <a:gd name="connsiteX33" fmla="*/ 32428 w 241400"/>
              <a:gd name="connsiteY33" fmla="*/ 129529 h 345756"/>
              <a:gd name="connsiteX34" fmla="*/ 32428 w 241400"/>
              <a:gd name="connsiteY34" fmla="*/ 234032 h 345756"/>
              <a:gd name="connsiteX35" fmla="*/ 0 w 241400"/>
              <a:gd name="connsiteY35" fmla="*/ 234032 h 345756"/>
              <a:gd name="connsiteX36" fmla="*/ 0 w 241400"/>
              <a:gd name="connsiteY36" fmla="*/ 184360 h 345756"/>
              <a:gd name="connsiteX37" fmla="*/ 0 w 241400"/>
              <a:gd name="connsiteY37" fmla="*/ 80523 h 345756"/>
              <a:gd name="connsiteX38" fmla="*/ 241400 w 241400"/>
              <a:gd name="connsiteY38" fmla="*/ 80523 h 345756"/>
              <a:gd name="connsiteX39" fmla="*/ 241400 w 241400"/>
              <a:gd name="connsiteY39" fmla="*/ 109957 h 345756"/>
              <a:gd name="connsiteX40" fmla="*/ 120700 w 241400"/>
              <a:gd name="connsiteY40" fmla="*/ 109957 h 345756"/>
              <a:gd name="connsiteX41" fmla="*/ 0 w 241400"/>
              <a:gd name="connsiteY41" fmla="*/ 109957 h 345756"/>
              <a:gd name="connsiteX42" fmla="*/ 120700 w 241400"/>
              <a:gd name="connsiteY42" fmla="*/ 0 h 345756"/>
              <a:gd name="connsiteX43" fmla="*/ 241400 w 241400"/>
              <a:gd name="connsiteY43" fmla="*/ 40101 h 345756"/>
              <a:gd name="connsiteX44" fmla="*/ 241400 w 241400"/>
              <a:gd name="connsiteY44" fmla="*/ 70498 h 345756"/>
              <a:gd name="connsiteX45" fmla="*/ 120700 w 241400"/>
              <a:gd name="connsiteY45" fmla="*/ 30397 h 345756"/>
              <a:gd name="connsiteX46" fmla="*/ 0 w 241400"/>
              <a:gd name="connsiteY46" fmla="*/ 70498 h 345756"/>
              <a:gd name="connsiteX47" fmla="*/ 0 w 241400"/>
              <a:gd name="connsiteY47" fmla="*/ 40101 h 345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41400" h="345756">
                <a:moveTo>
                  <a:pt x="241400" y="281835"/>
                </a:moveTo>
                <a:lnTo>
                  <a:pt x="241400" y="311912"/>
                </a:lnTo>
                <a:cubicBezTo>
                  <a:pt x="240758" y="313681"/>
                  <a:pt x="229057" y="333806"/>
                  <a:pt x="151992" y="333806"/>
                </a:cubicBezTo>
                <a:lnTo>
                  <a:pt x="89407" y="333806"/>
                </a:lnTo>
                <a:cubicBezTo>
                  <a:pt x="10361" y="334411"/>
                  <a:pt x="1505" y="344664"/>
                  <a:pt x="0" y="345756"/>
                </a:cubicBezTo>
                <a:lnTo>
                  <a:pt x="0" y="315680"/>
                </a:lnTo>
                <a:cubicBezTo>
                  <a:pt x="1505" y="314588"/>
                  <a:pt x="10361" y="304335"/>
                  <a:pt x="89407" y="303730"/>
                </a:cubicBezTo>
                <a:lnTo>
                  <a:pt x="151992" y="303730"/>
                </a:lnTo>
                <a:cubicBezTo>
                  <a:pt x="229057" y="303730"/>
                  <a:pt x="240758" y="283604"/>
                  <a:pt x="241400" y="281835"/>
                </a:cubicBezTo>
                <a:close/>
                <a:moveTo>
                  <a:pt x="241400" y="231708"/>
                </a:moveTo>
                <a:lnTo>
                  <a:pt x="241400" y="261785"/>
                </a:lnTo>
                <a:cubicBezTo>
                  <a:pt x="240758" y="263554"/>
                  <a:pt x="229057" y="283679"/>
                  <a:pt x="151992" y="283679"/>
                </a:cubicBezTo>
                <a:lnTo>
                  <a:pt x="89407" y="283679"/>
                </a:lnTo>
                <a:cubicBezTo>
                  <a:pt x="10361" y="284284"/>
                  <a:pt x="1505" y="294539"/>
                  <a:pt x="0" y="295631"/>
                </a:cubicBezTo>
                <a:lnTo>
                  <a:pt x="0" y="265553"/>
                </a:lnTo>
                <a:cubicBezTo>
                  <a:pt x="1505" y="264461"/>
                  <a:pt x="10361" y="254208"/>
                  <a:pt x="89407" y="253603"/>
                </a:cubicBezTo>
                <a:lnTo>
                  <a:pt x="151992" y="253603"/>
                </a:lnTo>
                <a:cubicBezTo>
                  <a:pt x="229057" y="253603"/>
                  <a:pt x="240758" y="233478"/>
                  <a:pt x="241400" y="231708"/>
                </a:cubicBezTo>
                <a:close/>
                <a:moveTo>
                  <a:pt x="208972" y="129529"/>
                </a:moveTo>
                <a:lnTo>
                  <a:pt x="241399" y="129529"/>
                </a:lnTo>
                <a:lnTo>
                  <a:pt x="241399" y="211987"/>
                </a:lnTo>
                <a:cubicBezTo>
                  <a:pt x="240971" y="213169"/>
                  <a:pt x="235558" y="222563"/>
                  <a:pt x="208972" y="228655"/>
                </a:cubicBezTo>
                <a:close/>
                <a:moveTo>
                  <a:pt x="139314" y="129529"/>
                </a:moveTo>
                <a:lnTo>
                  <a:pt x="171742" y="129529"/>
                </a:lnTo>
                <a:lnTo>
                  <a:pt x="171742" y="234032"/>
                </a:lnTo>
                <a:lnTo>
                  <a:pt x="139314" y="234032"/>
                </a:lnTo>
                <a:lnTo>
                  <a:pt x="139314" y="184360"/>
                </a:lnTo>
                <a:close/>
                <a:moveTo>
                  <a:pt x="69657" y="129529"/>
                </a:moveTo>
                <a:lnTo>
                  <a:pt x="102085" y="129529"/>
                </a:lnTo>
                <a:lnTo>
                  <a:pt x="102085" y="234032"/>
                </a:lnTo>
                <a:lnTo>
                  <a:pt x="69657" y="234032"/>
                </a:lnTo>
                <a:lnTo>
                  <a:pt x="69657" y="184360"/>
                </a:lnTo>
                <a:close/>
                <a:moveTo>
                  <a:pt x="0" y="129529"/>
                </a:moveTo>
                <a:lnTo>
                  <a:pt x="32428" y="129529"/>
                </a:lnTo>
                <a:lnTo>
                  <a:pt x="32428" y="234032"/>
                </a:lnTo>
                <a:lnTo>
                  <a:pt x="0" y="234032"/>
                </a:lnTo>
                <a:lnTo>
                  <a:pt x="0" y="184360"/>
                </a:lnTo>
                <a:close/>
                <a:moveTo>
                  <a:pt x="0" y="80523"/>
                </a:moveTo>
                <a:lnTo>
                  <a:pt x="241400" y="80523"/>
                </a:lnTo>
                <a:lnTo>
                  <a:pt x="241400" y="109957"/>
                </a:lnTo>
                <a:lnTo>
                  <a:pt x="120700" y="109957"/>
                </a:lnTo>
                <a:lnTo>
                  <a:pt x="0" y="109957"/>
                </a:lnTo>
                <a:close/>
                <a:moveTo>
                  <a:pt x="120700" y="0"/>
                </a:moveTo>
                <a:lnTo>
                  <a:pt x="241400" y="40101"/>
                </a:lnTo>
                <a:lnTo>
                  <a:pt x="241400" y="70498"/>
                </a:lnTo>
                <a:lnTo>
                  <a:pt x="120700" y="30397"/>
                </a:lnTo>
                <a:lnTo>
                  <a:pt x="0" y="70498"/>
                </a:lnTo>
                <a:lnTo>
                  <a:pt x="0" y="40101"/>
                </a:lnTo>
                <a:close/>
              </a:path>
            </a:pathLst>
          </a:custGeom>
          <a:solidFill>
            <a:srgbClr val="009CA6"/>
          </a:solidFill>
          <a:ln w="17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976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1963" indent="-228600" algn="l" defTabSz="914400" rtl="0" eaLnBrk="1" latinLnBrk="0" hangingPunct="1">
        <a:lnSpc>
          <a:spcPct val="100000"/>
        </a:lnSpc>
        <a:spcBef>
          <a:spcPts val="0"/>
        </a:spcBef>
        <a:buSzPct val="95000"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8975" indent="-220663" algn="l" defTabSz="914400" rtl="0" eaLnBrk="1" latinLnBrk="0" hangingPunct="1">
        <a:lnSpc>
          <a:spcPct val="100000"/>
        </a:lnSpc>
        <a:spcBef>
          <a:spcPts val="0"/>
        </a:spcBef>
        <a:buFont typeface="Calibri" panose="020F0502020204030204" pitchFamily="34" charset="0"/>
        <a:buChar char="‒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7575" indent="-233363" algn="l" defTabSz="914400" rtl="0" eaLnBrk="1" latinLnBrk="0" hangingPunct="1">
        <a:lnSpc>
          <a:spcPct val="100000"/>
        </a:lnSpc>
        <a:spcBef>
          <a:spcPts val="0"/>
        </a:spcBef>
        <a:buSzPct val="80000"/>
        <a:buFont typeface="Wingdings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6175" indent="-234950" algn="l" defTabSz="914400" rtl="0" eaLnBrk="1" latinLnBrk="0" hangingPunct="1">
        <a:lnSpc>
          <a:spcPct val="100000"/>
        </a:lnSpc>
        <a:spcBef>
          <a:spcPts val="0"/>
        </a:spcBef>
        <a:buSzPct val="90000"/>
        <a:buFont typeface="System Font Regular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7">
          <p15:clr>
            <a:srgbClr val="F26B43"/>
          </p15:clr>
        </p15:guide>
        <p15:guide id="2" pos="401">
          <p15:clr>
            <a:srgbClr val="F26B43"/>
          </p15:clr>
        </p15:guide>
        <p15:guide id="3" pos="7274">
          <p15:clr>
            <a:srgbClr val="F26B43"/>
          </p15:clr>
        </p15:guide>
        <p15:guide id="4" orient="horz" pos="938">
          <p15:clr>
            <a:srgbClr val="F26B43"/>
          </p15:clr>
        </p15:guide>
        <p15:guide id="5" orient="horz" pos="1082">
          <p15:clr>
            <a:srgbClr val="F26B43"/>
          </p15:clr>
        </p15:guide>
        <p15:guide id="6" orient="horz" pos="3619">
          <p15:clr>
            <a:srgbClr val="F26B43"/>
          </p15:clr>
        </p15:guide>
        <p15:guide id="7" orient="horz" pos="4084">
          <p15:clr>
            <a:srgbClr val="F26B43"/>
          </p15:clr>
        </p15:guide>
        <p15:guide id="8" orient="horz" pos="385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6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emf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9D63CF-3DE9-BA47-AD6C-3CA9A50B60E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4800" dirty="0"/>
              <a:t>The MGB Alzheimer Therapeutics Program</a:t>
            </a:r>
            <a:br>
              <a:rPr lang="en-US" sz="4800" dirty="0"/>
            </a:br>
            <a:endParaRPr lang="en-US" sz="48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02C1933-575E-314E-A8C0-02AE388116A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2400" dirty="0"/>
              <a:t>Ushering in a new era of disease-modifying therapies for Alzheimer diseas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4301BD-529D-C343-84D0-3959DCD26A2C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US" dirty="0"/>
              <a:t>Fall 2023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93F4FD5-6872-FC47-BC1C-159D286BFA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BWH, MGH Departments of Neurolo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30763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C12D17-2F26-484B-B02F-2CEF9D0B95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EC12D17-2F26-484B-B02F-2CEF9D0B95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A35F97-E1C2-E84F-947A-50A52ED491B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C51B51-75C4-B849-A9D6-00722C2F8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1892808"/>
            <a:ext cx="9903898" cy="2852737"/>
          </a:xfrm>
        </p:spPr>
        <p:txBody>
          <a:bodyPr/>
          <a:lstStyle/>
          <a:p>
            <a:r>
              <a:rPr lang="en-US" dirty="0"/>
              <a:t>Alzheimer Therapeutic Program</a:t>
            </a:r>
          </a:p>
        </p:txBody>
      </p:sp>
    </p:spTree>
    <p:extLst>
      <p:ext uri="{BB962C8B-B14F-4D97-AF65-F5344CB8AC3E}">
        <p14:creationId xmlns:p14="http://schemas.microsoft.com/office/powerpoint/2010/main" val="31839575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62F4AD9C-9F04-40A5-B919-0B231E1CD84E}"/>
              </a:ext>
            </a:extLst>
          </p:cNvPr>
          <p:cNvSpPr/>
          <p:nvPr/>
        </p:nvSpPr>
        <p:spPr>
          <a:xfrm>
            <a:off x="3475909" y="3463585"/>
            <a:ext cx="8437417" cy="594360"/>
          </a:xfrm>
          <a:prstGeom prst="rect">
            <a:avLst/>
          </a:prstGeom>
          <a:solidFill>
            <a:srgbClr val="F9F9F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b="1" dirty="0">
                <a:solidFill>
                  <a:schemeClr val="accent3"/>
                </a:solidFill>
                <a:cs typeface="Arial"/>
              </a:rPr>
              <a:t>~400 currently treated MGB patients</a:t>
            </a:r>
            <a:r>
              <a:rPr lang="en-US" sz="1200" dirty="0">
                <a:solidFill>
                  <a:schemeClr val="tx1"/>
                </a:solidFill>
                <a:cs typeface="Arial"/>
              </a:rPr>
              <a:t> would meet criteria for </a:t>
            </a:r>
            <a:r>
              <a:rPr lang="en-US" sz="1200" dirty="0" err="1">
                <a:solidFill>
                  <a:schemeClr val="tx1"/>
                </a:solidFill>
                <a:cs typeface="Arial"/>
              </a:rPr>
              <a:t>lecanemab</a:t>
            </a:r>
            <a:r>
              <a:rPr lang="en-US" sz="1200" dirty="0">
                <a:solidFill>
                  <a:schemeClr val="tx1"/>
                </a:solidFill>
                <a:cs typeface="Arial"/>
              </a:rPr>
              <a:t> treatment, </a:t>
            </a:r>
            <a:r>
              <a:rPr lang="en-US" sz="1200" b="1" dirty="0">
                <a:solidFill>
                  <a:schemeClr val="accent3"/>
                </a:solidFill>
                <a:cs typeface="Arial"/>
              </a:rPr>
              <a:t>plus ~600 new patients </a:t>
            </a:r>
            <a:r>
              <a:rPr lang="en-US" sz="1200" dirty="0">
                <a:solidFill>
                  <a:schemeClr val="tx1"/>
                </a:solidFill>
                <a:cs typeface="Arial"/>
              </a:rPr>
              <a:t>with early AD evaluated annually. The process for determining drug eligibility includes a focused history and physical exam, standardized cognitive screening assessments, brain MRI, Alzheimer-specific biomarker testing (e.g., CSF testing or amyloid-PET), and APOE genetic testing. 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D2B3659-7076-46D3-8289-4A189D8F8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230361"/>
            <a:ext cx="10902950" cy="956516"/>
          </a:xfrm>
        </p:spPr>
        <p:txBody>
          <a:bodyPr>
            <a:normAutofit/>
          </a:bodyPr>
          <a:lstStyle/>
          <a:p>
            <a:r>
              <a:rPr lang="en-US" sz="3600"/>
              <a:t>Alzheimer Therapeutics Program (ATP) Overview</a:t>
            </a:r>
            <a:endParaRPr lang="en-US" sz="3600" b="0"/>
          </a:p>
        </p:txBody>
      </p:sp>
      <p:sp>
        <p:nvSpPr>
          <p:cNvPr id="17" name="Arrow: Pentagon 16">
            <a:extLst>
              <a:ext uri="{FF2B5EF4-FFF2-40B4-BE49-F238E27FC236}">
                <a16:creationId xmlns:a16="http://schemas.microsoft.com/office/drawing/2014/main" id="{D27ECD6B-2BC2-41BE-91CD-9D1AECF636DE}"/>
              </a:ext>
            </a:extLst>
          </p:cNvPr>
          <p:cNvSpPr/>
          <p:nvPr/>
        </p:nvSpPr>
        <p:spPr>
          <a:xfrm>
            <a:off x="652019" y="4166737"/>
            <a:ext cx="2743199" cy="594360"/>
          </a:xfrm>
          <a:prstGeom prst="homePlate">
            <a:avLst/>
          </a:prstGeom>
          <a:solidFill>
            <a:schemeClr val="accent4">
              <a:lumMod val="20000"/>
              <a:lumOff val="80000"/>
            </a:schemeClr>
          </a:solidFill>
          <a:ln w="12700" cap="flat" cmpd="sng" algn="ctr">
            <a:solidFill>
              <a:schemeClr val="accent4"/>
            </a:solidFill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cs typeface="Arial"/>
              </a:rPr>
              <a:t>Safety Monitoring and Triage</a:t>
            </a:r>
            <a:endParaRPr kumimoji="0" lang="en-US" sz="14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Calibri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6217FE-7E40-4E98-BD4A-7C92B1E391C6}"/>
              </a:ext>
            </a:extLst>
          </p:cNvPr>
          <p:cNvSpPr txBox="1"/>
          <p:nvPr/>
        </p:nvSpPr>
        <p:spPr>
          <a:xfrm>
            <a:off x="562692" y="3024663"/>
            <a:ext cx="1754006" cy="40011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ey Objectives</a:t>
            </a: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CFDE2B48-D379-4F88-A1AC-BE4654402289}"/>
              </a:ext>
            </a:extLst>
          </p:cNvPr>
          <p:cNvSpPr/>
          <p:nvPr/>
        </p:nvSpPr>
        <p:spPr>
          <a:xfrm>
            <a:off x="647701" y="3463585"/>
            <a:ext cx="2743199" cy="594360"/>
          </a:xfrm>
          <a:prstGeom prst="homePlate">
            <a:avLst/>
          </a:prstGeom>
          <a:solidFill>
            <a:schemeClr val="accent4">
              <a:lumMod val="20000"/>
              <a:lumOff val="80000"/>
            </a:schemeClr>
          </a:solidFill>
          <a:ln w="12700" cap="flat" cmpd="sng" algn="ctr">
            <a:solidFill>
              <a:schemeClr val="accent4"/>
            </a:solidFill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cs typeface="Arial"/>
              </a:rPr>
              <a:t>Screening and Eligibility Determination</a:t>
            </a:r>
            <a:endParaRPr kumimoji="0" lang="en-US" sz="14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Calibri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DD62061-DA3B-43E3-AECA-4872360063C4}"/>
              </a:ext>
            </a:extLst>
          </p:cNvPr>
          <p:cNvSpPr/>
          <p:nvPr/>
        </p:nvSpPr>
        <p:spPr>
          <a:xfrm>
            <a:off x="3708050" y="3380863"/>
            <a:ext cx="7819399" cy="844397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wrap="square" rtlCol="0" anchor="ctr"/>
          <a:lstStyle/>
          <a:p>
            <a:pPr marL="120650" marR="0" lvl="0" indent="-1206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Arrow: Pentagon 28">
            <a:extLst>
              <a:ext uri="{FF2B5EF4-FFF2-40B4-BE49-F238E27FC236}">
                <a16:creationId xmlns:a16="http://schemas.microsoft.com/office/drawing/2014/main" id="{6E3C9862-B710-401C-94A3-5DF842777158}"/>
              </a:ext>
            </a:extLst>
          </p:cNvPr>
          <p:cNvSpPr/>
          <p:nvPr/>
        </p:nvSpPr>
        <p:spPr>
          <a:xfrm>
            <a:off x="647701" y="5573041"/>
            <a:ext cx="2743199" cy="594360"/>
          </a:xfrm>
          <a:prstGeom prst="homePlate">
            <a:avLst/>
          </a:prstGeom>
          <a:solidFill>
            <a:schemeClr val="accent4">
              <a:lumMod val="20000"/>
              <a:lumOff val="80000"/>
            </a:schemeClr>
          </a:solidFill>
          <a:ln w="12700" cap="flat" cmpd="sng" algn="ctr">
            <a:solidFill>
              <a:schemeClr val="accent4"/>
            </a:solidFill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cs typeface="Arial"/>
              </a:rPr>
              <a:t>Collect Clinical Data</a:t>
            </a: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ea typeface="+mn-ea"/>
              <a:cs typeface="Calibri"/>
            </a:endParaRPr>
          </a:p>
        </p:txBody>
      </p:sp>
      <p:sp>
        <p:nvSpPr>
          <p:cNvPr id="5" name="Arrow: Pentagon 4">
            <a:extLst>
              <a:ext uri="{FF2B5EF4-FFF2-40B4-BE49-F238E27FC236}">
                <a16:creationId xmlns:a16="http://schemas.microsoft.com/office/drawing/2014/main" id="{22AFCB78-1A59-393C-8E6D-CB14473209C6}"/>
              </a:ext>
            </a:extLst>
          </p:cNvPr>
          <p:cNvSpPr/>
          <p:nvPr/>
        </p:nvSpPr>
        <p:spPr>
          <a:xfrm>
            <a:off x="647701" y="4869889"/>
            <a:ext cx="2743199" cy="594360"/>
          </a:xfrm>
          <a:prstGeom prst="homePlate">
            <a:avLst/>
          </a:prstGeom>
          <a:solidFill>
            <a:schemeClr val="accent4">
              <a:lumMod val="20000"/>
              <a:lumOff val="80000"/>
            </a:schemeClr>
          </a:solidFill>
          <a:ln w="12700" cap="flat" cmpd="sng" algn="ctr">
            <a:solidFill>
              <a:schemeClr val="accent4"/>
            </a:solidFill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cs typeface="Arial"/>
              </a:rPr>
              <a:t>Coordinate the Work of Interdisciplinary Provider Teams</a:t>
            </a: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Calibri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FB21DCB-5874-FE78-0DAC-A7A5BF224998}"/>
              </a:ext>
            </a:extLst>
          </p:cNvPr>
          <p:cNvSpPr/>
          <p:nvPr/>
        </p:nvSpPr>
        <p:spPr>
          <a:xfrm>
            <a:off x="3475908" y="4166737"/>
            <a:ext cx="8437417" cy="594360"/>
          </a:xfrm>
          <a:prstGeom prst="rect">
            <a:avLst/>
          </a:prstGeom>
          <a:solidFill>
            <a:srgbClr val="F9F9F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sz="1200" b="1" dirty="0">
                <a:solidFill>
                  <a:schemeClr val="accent3"/>
                </a:solidFill>
                <a:latin typeface="Calibri"/>
              </a:rPr>
              <a:t>A critical function of the ATP clinic is drug safety monitoring with neuroimaging and clinical assessments.</a:t>
            </a:r>
            <a:r>
              <a:rPr lang="en-US" sz="1200" dirty="0">
                <a:solidFill>
                  <a:schemeClr val="tx1"/>
                </a:solidFill>
                <a:latin typeface="Calibri"/>
              </a:rPr>
              <a:t> Patients will be triage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1200" dirty="0">
                <a:solidFill>
                  <a:schemeClr val="tx1"/>
                </a:solidFill>
                <a:latin typeface="Calibri"/>
              </a:rPr>
              <a:t>and offered urgen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/ emergent visits to address any possible side effects.</a:t>
            </a:r>
            <a:r>
              <a:rPr lang="en-US" sz="1200" dirty="0">
                <a:solidFill>
                  <a:schemeClr val="tx1"/>
                </a:solidFill>
                <a:latin typeface="Calibri"/>
              </a:rPr>
              <a:t> 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269A79-E544-9617-003E-2EFAA1986FE1}"/>
              </a:ext>
            </a:extLst>
          </p:cNvPr>
          <p:cNvSpPr/>
          <p:nvPr/>
        </p:nvSpPr>
        <p:spPr>
          <a:xfrm>
            <a:off x="3475993" y="4869889"/>
            <a:ext cx="8437332" cy="594360"/>
          </a:xfrm>
          <a:prstGeom prst="rect">
            <a:avLst/>
          </a:prstGeom>
          <a:solidFill>
            <a:srgbClr val="F9F9F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>
                <a:solidFill>
                  <a:schemeClr val="tx1"/>
                </a:solidFill>
                <a:cs typeface="Arial"/>
              </a:rPr>
              <a:t>The ATP will be a </a:t>
            </a:r>
            <a:r>
              <a:rPr lang="en-US" sz="1200" b="1">
                <a:solidFill>
                  <a:schemeClr val="accent3"/>
                </a:solidFill>
                <a:cs typeface="Arial"/>
              </a:rPr>
              <a:t>collaboration</a:t>
            </a:r>
            <a:r>
              <a:rPr lang="en-US" sz="1200">
                <a:solidFill>
                  <a:schemeClr val="tx1"/>
                </a:solidFill>
                <a:cs typeface="Arial"/>
              </a:rPr>
              <a:t> led by the Departments of Neurology at Massachusetts General Hospital (MGH) and Brigham and Women’s Hospital (BWH), with appropriate partnerships with Geriatric Psychiatry, Pharmacy, Radiology, Nursing (Infusion), and the Mind &amp; Memory Care Program at MGB institutions; and many allied clinicians across MGB.</a:t>
            </a: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66678EE-F9B5-1321-761C-7532C0F543D6}"/>
              </a:ext>
            </a:extLst>
          </p:cNvPr>
          <p:cNvSpPr/>
          <p:nvPr/>
        </p:nvSpPr>
        <p:spPr>
          <a:xfrm>
            <a:off x="3475909" y="5573041"/>
            <a:ext cx="8437332" cy="594360"/>
          </a:xfrm>
          <a:prstGeom prst="rect">
            <a:avLst/>
          </a:prstGeom>
          <a:solidFill>
            <a:srgbClr val="F9F9F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 support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ality improvement effort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d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inical research,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inical data will be collected, monitored and tracked for the ATP clinic.</a:t>
            </a:r>
            <a:r>
              <a:rPr lang="en-US" sz="1200">
                <a:solidFill>
                  <a:schemeClr val="tx1"/>
                </a:solidFill>
                <a:latin typeface="Calibri"/>
              </a:rPr>
              <a:t> The ATP clinic will also contribute to a national registry to better understand the biological and clinical impact of anti-Alzheimer drugs. 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s future AD drugs come to market in the short term, this will be critical to the </a:t>
            </a:r>
            <a:r>
              <a:rPr lang="en-US" sz="1200">
                <a:solidFill>
                  <a:schemeClr val="tx1"/>
                </a:solidFill>
                <a:latin typeface="Calibri"/>
              </a:rPr>
              <a:t>successful depl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yment of these drugs as well.</a:t>
            </a:r>
            <a:r>
              <a:rPr lang="en-US" sz="1200">
                <a:solidFill>
                  <a:schemeClr val="tx1"/>
                </a:solidFill>
                <a:latin typeface="Calibri"/>
              </a:rPr>
              <a:t> 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6178385-EDB2-EF7E-F1C2-ABED2740443C}"/>
              </a:ext>
            </a:extLst>
          </p:cNvPr>
          <p:cNvSpPr txBox="1"/>
          <p:nvPr/>
        </p:nvSpPr>
        <p:spPr>
          <a:xfrm>
            <a:off x="733778" y="824084"/>
            <a:ext cx="10793671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/>
              <a:t>Shared provider model akin to anticoagulation management service (similar to a “Coumadin clinic”)</a:t>
            </a:r>
          </a:p>
          <a:p>
            <a:pPr marL="804863" lvl="1" indent="-342900"/>
            <a:r>
              <a:rPr lang="en-US" sz="1600" b="1" dirty="0"/>
              <a:t>Responsible for administration and safety monitoring of </a:t>
            </a:r>
            <a:r>
              <a:rPr lang="en-US" sz="1600" b="1" dirty="0" err="1"/>
              <a:t>lecanemab</a:t>
            </a:r>
            <a:endParaRPr lang="en-US" sz="1600" b="1" dirty="0"/>
          </a:p>
          <a:p>
            <a:pPr marL="804863" lvl="1" indent="-342900"/>
            <a:r>
              <a:rPr lang="en-US" sz="1600" b="1" dirty="0"/>
              <a:t>Not responsible for other aspects of dementia care </a:t>
            </a:r>
            <a:r>
              <a:rPr lang="en-US" sz="1600" dirty="0"/>
              <a:t>(other memory medications, psychiatric care, community services, etc.)</a:t>
            </a:r>
          </a:p>
          <a:p>
            <a:pPr marL="1031875" lvl="2" indent="-342900"/>
            <a:r>
              <a:rPr lang="en-US" sz="1600" dirty="0"/>
              <a:t>--Referring provider remains main resource for patient and family; ATP always available for </a:t>
            </a:r>
            <a:r>
              <a:rPr lang="en-US" sz="1600" dirty="0" err="1"/>
              <a:t>lecanemab</a:t>
            </a:r>
            <a:r>
              <a:rPr lang="en-US" sz="1600" dirty="0"/>
              <a:t>-specific concerns</a:t>
            </a:r>
          </a:p>
          <a:p>
            <a:pPr marL="1031875" lvl="2" indent="-342900"/>
            <a:r>
              <a:rPr lang="en-US" sz="1600" dirty="0"/>
              <a:t>--Typical cognitive and behavioral neurology referrals remain available for comprehensive cognitive </a:t>
            </a:r>
            <a:r>
              <a:rPr lang="en-US" dirty="0"/>
              <a:t>evaluations</a:t>
            </a:r>
            <a:endParaRPr lang="en-US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The ATP has harmonized procedures across MGB, but BWH and MGH have separate referrals and physician pools (for now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10062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92C174-4D71-CBF8-40E8-3F3D4E2060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red Service Mod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E6F31D-797C-448E-FB75-FBD4E659E9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On/Off call model - 1 week 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On-call provider takes care of much of the ATP activities:</a:t>
            </a:r>
          </a:p>
          <a:p>
            <a:pPr marL="804863" lvl="1" indent="-342900"/>
            <a:r>
              <a:rPr lang="en-US" dirty="0"/>
              <a:t>Sees patients in clinic (starting out with 4-hour session per week)</a:t>
            </a:r>
          </a:p>
          <a:p>
            <a:pPr marL="804863" lvl="1" indent="-342900"/>
            <a:r>
              <a:rPr lang="en-US" dirty="0"/>
              <a:t>Triages incoming referrals</a:t>
            </a:r>
          </a:p>
          <a:p>
            <a:pPr marL="804863" lvl="1" indent="-342900"/>
            <a:r>
              <a:rPr lang="en-US" dirty="0"/>
              <a:t>Orders pending eligibility studies (CSF, APOE, </a:t>
            </a:r>
            <a:r>
              <a:rPr lang="en-US" dirty="0" err="1"/>
              <a:t>etc</a:t>
            </a:r>
            <a:r>
              <a:rPr lang="en-US" dirty="0"/>
              <a:t>)</a:t>
            </a:r>
          </a:p>
          <a:p>
            <a:pPr marL="804863" lvl="1" indent="-342900"/>
            <a:r>
              <a:rPr lang="en-US" dirty="0"/>
              <a:t>Reviews MRIs for ARIA</a:t>
            </a:r>
          </a:p>
          <a:p>
            <a:pPr marL="804863" lvl="1" indent="-342900"/>
            <a:r>
              <a:rPr lang="en-US" dirty="0"/>
              <a:t>Reviews and addresses patient messages/calls/emails</a:t>
            </a:r>
          </a:p>
          <a:p>
            <a:pPr marL="804863" lvl="1" indent="-342900"/>
            <a:r>
              <a:rPr lang="en-US" dirty="0"/>
              <a:t>Makes decisions if/when to pause therapy plans based on MRI/symptoms</a:t>
            </a:r>
          </a:p>
          <a:p>
            <a:pPr marL="804863" lvl="1" indent="-342900"/>
            <a:r>
              <a:rPr lang="en-US" dirty="0"/>
              <a:t>24-7 pager coverage for emergenci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asses off active issues to incoming on-call provid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upported by a growing administrative team</a:t>
            </a: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BB20FB-9D3C-3319-90A8-4A5F7AEBF0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47436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52AE0F2-4102-144F-8994-A80C28AFEA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52AE0F2-4102-144F-8994-A80C28AFEA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7B35AC9-0294-7347-84E2-3F89EF7586B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9A09BD-ACC0-BF4B-93E7-B64B4EC9C1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quirements for ATP referr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5671B3-68B7-FF41-A00B-4A407CE22D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59" y="1417320"/>
            <a:ext cx="10902950" cy="4023360"/>
          </a:xfrm>
        </p:spPr>
        <p:txBody>
          <a:bodyPr/>
          <a:lstStyle/>
          <a:p>
            <a:r>
              <a:rPr lang="en-US" dirty="0"/>
              <a:t>1. Patient has </a:t>
            </a:r>
            <a:r>
              <a:rPr lang="en-US" b="1" dirty="0"/>
              <a:t>mild cognitive impairment </a:t>
            </a:r>
            <a:r>
              <a:rPr lang="en-US" dirty="0"/>
              <a:t>or </a:t>
            </a:r>
            <a:r>
              <a:rPr lang="en-US" b="1" dirty="0"/>
              <a:t>mild dementia</a:t>
            </a:r>
          </a:p>
          <a:p>
            <a:pPr marL="804863" lvl="1" indent="-342900"/>
            <a:r>
              <a:rPr lang="en-US" i="1" dirty="0"/>
              <a:t>i.e., </a:t>
            </a:r>
            <a:r>
              <a:rPr lang="en-US" dirty="0"/>
              <a:t>cognitive impairment does </a:t>
            </a:r>
            <a:r>
              <a:rPr lang="en-US" u="sng" dirty="0"/>
              <a:t>not</a:t>
            </a:r>
            <a:r>
              <a:rPr lang="en-US" dirty="0"/>
              <a:t> affect basic activities of daily living (bathing, dressing, eating, toileting, etc</a:t>
            </a:r>
            <a:r>
              <a:rPr lang="en-US" dirty="0">
                <a:solidFill>
                  <a:srgbClr val="FF0000"/>
                </a:solidFill>
              </a:rPr>
              <a:t>.</a:t>
            </a:r>
            <a:r>
              <a:rPr lang="en-US" dirty="0"/>
              <a:t>)</a:t>
            </a:r>
          </a:p>
          <a:p>
            <a:pPr marL="342900" indent="-342900"/>
            <a:r>
              <a:rPr lang="en-US" dirty="0"/>
              <a:t>2. Brief cognitive screening test within the past 6 months</a:t>
            </a:r>
          </a:p>
          <a:p>
            <a:pPr marL="804863" lvl="1" indent="-342900"/>
            <a:r>
              <a:rPr lang="en-US" dirty="0"/>
              <a:t>Mini-mental State Exam (MMSE), Montreal Cognitive Assessment (MoCA), or St. Louis University Mental Assessment (SLUMS)</a:t>
            </a:r>
          </a:p>
          <a:p>
            <a:pPr marL="804863" lvl="1" indent="-342900"/>
            <a:r>
              <a:rPr lang="en-US" dirty="0"/>
              <a:t>Mini-cog </a:t>
            </a:r>
            <a:r>
              <a:rPr lang="en-US" b="1" dirty="0"/>
              <a:t>not sufficient</a:t>
            </a:r>
          </a:p>
          <a:p>
            <a:pPr marL="342900" indent="-342900"/>
            <a:r>
              <a:rPr lang="en-US" dirty="0"/>
              <a:t>3. Brain MRI within the past year</a:t>
            </a:r>
          </a:p>
          <a:p>
            <a:pPr marL="342900" indent="-342900"/>
            <a:r>
              <a:rPr lang="en-US" dirty="0"/>
              <a:t>4. Blood tests within the past 6 months: CBC, CMP, PT-INR, PTT, TSH, Vitamin B12</a:t>
            </a:r>
          </a:p>
          <a:p>
            <a:pPr marL="342900" indent="-342900"/>
            <a:r>
              <a:rPr lang="en-US" dirty="0"/>
              <a:t>5. For now, full-strength anticoagulation is a strict contraindication for </a:t>
            </a:r>
            <a:r>
              <a:rPr lang="en-US" dirty="0" err="1"/>
              <a:t>lecanemab</a:t>
            </a:r>
            <a:endParaRPr lang="en-US" dirty="0"/>
          </a:p>
          <a:p>
            <a:pPr marL="342900" indent="-342900"/>
            <a:r>
              <a:rPr lang="en-US" dirty="0"/>
              <a:t>6. A continued follow-up plan with the referring provider</a:t>
            </a:r>
          </a:p>
          <a:p>
            <a:pPr marL="342900" indent="-342900"/>
            <a:endParaRPr lang="en-US" dirty="0"/>
          </a:p>
          <a:p>
            <a:pPr marL="342900" indent="-342900"/>
            <a:r>
              <a:rPr lang="en-US" dirty="0"/>
              <a:t>	</a:t>
            </a:r>
            <a:r>
              <a:rPr lang="en-US" i="1" dirty="0"/>
              <a:t>Alzheimer disease biomarkers (lumbar puncture or amyloid PET) and </a:t>
            </a:r>
            <a:r>
              <a:rPr lang="en-US" i="1" dirty="0" err="1"/>
              <a:t>ApoE</a:t>
            </a:r>
            <a:r>
              <a:rPr lang="en-US" i="1" dirty="0"/>
              <a:t> genotyping will be handled by the ATP, but can be done in advance if referring provider is comfortable</a:t>
            </a:r>
          </a:p>
          <a:p>
            <a:pPr marL="342900" indent="-342900"/>
            <a:endParaRPr lang="en-US" i="1" dirty="0"/>
          </a:p>
          <a:p>
            <a:pPr marL="342900" indent="-342900"/>
            <a:r>
              <a:rPr lang="en-US" b="1" i="1" dirty="0"/>
              <a:t>	When in doubt, please ask: mgbatp@mgb.org</a:t>
            </a:r>
            <a:endParaRPr lang="en-US" dirty="0"/>
          </a:p>
          <a:p>
            <a:pPr marL="342900" indent="-342900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BD70B6-B850-2D43-86FC-7A787676A93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BWH, MGH Departments of Neurolo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98595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5B7921E-77E8-E89D-537E-45CE5A1C74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F87C68-0FFA-3F1C-DA0F-B2D35CD91D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BWH, MGH Departments of Neurology</a:t>
            </a:r>
          </a:p>
        </p:txBody>
      </p:sp>
      <p:sp>
        <p:nvSpPr>
          <p:cNvPr id="6" name="Rectangle 1">
            <a:extLst>
              <a:ext uri="{FF2B5EF4-FFF2-40B4-BE49-F238E27FC236}">
                <a16:creationId xmlns:a16="http://schemas.microsoft.com/office/drawing/2014/main" id="{731F1D7C-9286-1E84-85B5-6158AB2B59A9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169333" y="791431"/>
            <a:ext cx="11914573" cy="54476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TP clinicians will review available referral information to determine if the patient may meet eligibility criteria, and what workup remains within the ATP: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inical diagnosis of AD-spectrum syndrome at severity of MCI or mild dementia</a:t>
            </a:r>
            <a:endParaRPr lang="en-US" altLang="en-US" sz="1800" dirty="0"/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CA 15 or greater, MMSE 22 or greater, SLUMS 16 or greater within 6 months of referral (exceptions may be considered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es not have clinical diagnosis of </a:t>
            </a:r>
            <a:r>
              <a:rPr lang="en-US" altLang="en-US" sz="18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ewy body dementia 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r frontotemporal dementia-spectrum syndrom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s not on full-strength anticoagulation or immunosuppression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es not have other poorly controlled chronic medical, neurological, or psychiatric condition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ble to comply with infusion visits every 2 week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MP, B12, TSH, CBC, PT, PTT within 6 months of referral without abnormalities requiring further investig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RI brain within 12 months of referral without exclusionary findings (&gt;4 microbleeds, severe small vessel disease, large vessel infarct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levated p-tau181/Abeta42 (Mayo Clinic labs), Abeta42/p-tau - 0.0105(t-tau) &lt; 3.694 (Athena </a:t>
            </a:r>
            <a:r>
              <a:rPr kumimoji="0" lang="en-US" altLang="en-US" sz="18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DMark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, or amyloid PET suggesting elevated brain amyloid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POE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genotyping</a:t>
            </a:r>
            <a:endParaRPr lang="en-US" alt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en-US" altLang="en-US" sz="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hallenging cases will be reviewed by the ATP’s Plaque and Tangle Board (similar to an oncology tumor board)</a:t>
            </a:r>
            <a:endParaRPr kumimoji="0" lang="en-US" altLang="en-US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7C1854C-0DCE-0A30-21F2-BB25A195EBAF}"/>
              </a:ext>
            </a:extLst>
          </p:cNvPr>
          <p:cNvSpPr txBox="1">
            <a:spLocks/>
          </p:cNvSpPr>
          <p:nvPr/>
        </p:nvSpPr>
        <p:spPr>
          <a:xfrm>
            <a:off x="639759" y="266193"/>
            <a:ext cx="10902950" cy="9565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TP </a:t>
            </a:r>
            <a:r>
              <a:rPr lang="en-US" dirty="0" err="1"/>
              <a:t>lecanemab</a:t>
            </a:r>
            <a:r>
              <a:rPr lang="en-US" dirty="0"/>
              <a:t> eligibility checklist</a:t>
            </a:r>
          </a:p>
        </p:txBody>
      </p:sp>
    </p:spTree>
    <p:extLst>
      <p:ext uri="{BB962C8B-B14F-4D97-AF65-F5344CB8AC3E}">
        <p14:creationId xmlns:p14="http://schemas.microsoft.com/office/powerpoint/2010/main" val="29021116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52AE0F2-4102-144F-8994-A80C28AFEA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52AE0F2-4102-144F-8994-A80C28AFEA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7B35AC9-0294-7347-84E2-3F89EF7586B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9A09BD-ACC0-BF4B-93E7-B64B4EC9C1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refer in Epic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BD70B6-B850-2D43-86FC-7A787676A93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BWH, MGH Departments of Neurology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1900AA6-D398-CDDD-45C6-B73C39E5CF6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7384" y="1002133"/>
            <a:ext cx="5753100" cy="55499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9316975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52AE0F2-4102-144F-8994-A80C28AFEA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52AE0F2-4102-144F-8994-A80C28AFEA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7B35AC9-0294-7347-84E2-3F89EF7586B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9A09BD-ACC0-BF4B-93E7-B64B4EC9C1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fter referr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5671B3-68B7-FF41-A00B-4A407CE22D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TP will screen chart and then contact patient</a:t>
            </a:r>
          </a:p>
          <a:p>
            <a:pPr marL="804863" lvl="1" indent="-342900"/>
            <a:r>
              <a:rPr lang="en-US" dirty="0"/>
              <a:t>May contact referring provider instead if more workup is required before referral or if there is a contraindication from chart review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Up to three ATP visits before starting </a:t>
            </a:r>
            <a:r>
              <a:rPr lang="en-US" dirty="0" err="1"/>
              <a:t>lecanemab</a:t>
            </a:r>
            <a:r>
              <a:rPr lang="en-US" dirty="0"/>
              <a:t>:</a:t>
            </a:r>
          </a:p>
          <a:p>
            <a:pPr marL="919163" lvl="1" indent="-457200">
              <a:buFont typeface="+mj-lt"/>
              <a:buAutoNum type="arabicPeriod"/>
            </a:pPr>
            <a:r>
              <a:rPr lang="en-US" dirty="0"/>
              <a:t>Intake and eligibility</a:t>
            </a:r>
          </a:p>
          <a:p>
            <a:pPr marL="1031875" lvl="2" indent="-342900"/>
            <a:r>
              <a:rPr lang="en-US" dirty="0"/>
              <a:t>Obtaining Alzheimer disease biomarkers (spinal fluid)</a:t>
            </a:r>
          </a:p>
          <a:p>
            <a:pPr marL="919163" lvl="1" indent="-457200">
              <a:buFont typeface="+mj-lt"/>
              <a:buAutoNum type="arabicPeriod"/>
            </a:pPr>
            <a:r>
              <a:rPr lang="en-US" dirty="0"/>
              <a:t>Discussion of biomarker results, counseling and ordering genetic testing (</a:t>
            </a:r>
            <a:r>
              <a:rPr lang="en-US" dirty="0" err="1"/>
              <a:t>ApoE</a:t>
            </a:r>
            <a:r>
              <a:rPr lang="en-US" dirty="0"/>
              <a:t>)</a:t>
            </a:r>
          </a:p>
          <a:p>
            <a:pPr marL="919163" lvl="1" indent="-457200">
              <a:buFont typeface="+mj-lt"/>
              <a:buAutoNum type="arabicPeriod"/>
            </a:pPr>
            <a:r>
              <a:rPr lang="en-US" dirty="0"/>
              <a:t>Review of </a:t>
            </a:r>
            <a:r>
              <a:rPr lang="en-US" dirty="0" err="1"/>
              <a:t>ApoE</a:t>
            </a:r>
            <a:r>
              <a:rPr lang="en-US" dirty="0"/>
              <a:t>; prescribing </a:t>
            </a:r>
            <a:r>
              <a:rPr lang="en-US" dirty="0" err="1"/>
              <a:t>lecanemab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Lecanemab</a:t>
            </a:r>
            <a:r>
              <a:rPr lang="en-US" dirty="0"/>
              <a:t> infusions at MGB sites every two week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ree additional safety monitoring MRIs within the first six months (plus more PRN)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BD70B6-B850-2D43-86FC-7A787676A93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BWH, MGH Departments of Neurolo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1395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8E8105-CCD2-9477-266C-C57A9039E9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 Department Consider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2061D4-0A89-E188-A1D6-F9E8C2A86B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59" y="1503093"/>
            <a:ext cx="10902950" cy="4023360"/>
          </a:xfrm>
        </p:spPr>
        <p:txBody>
          <a:bodyPr/>
          <a:lstStyle/>
          <a:p>
            <a:r>
              <a:rPr lang="en-US" dirty="0"/>
              <a:t>Acute stroke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rombolysis (tPA, Tenecteplase) </a:t>
            </a:r>
            <a:r>
              <a:rPr lang="en-US" b="1" dirty="0"/>
              <a:t>strictly contraindicated </a:t>
            </a:r>
            <a:r>
              <a:rPr lang="en-US" dirty="0"/>
              <a:t>within 3 months of </a:t>
            </a:r>
            <a:r>
              <a:rPr lang="en-US" dirty="0" err="1"/>
              <a:t>lecanemab</a:t>
            </a:r>
            <a:r>
              <a:rPr lang="en-US" dirty="0"/>
              <a:t> therapy</a:t>
            </a:r>
            <a:endParaRPr lang="en-US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No contraindications to thrombectom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No contraindications to antiplatelet therapy</a:t>
            </a:r>
          </a:p>
          <a:p>
            <a:pPr marL="804863" lvl="1" indent="-342900"/>
            <a:r>
              <a:rPr lang="en-US" dirty="0"/>
              <a:t>Please discuss initiation of anticoagulation in patients on </a:t>
            </a:r>
            <a:r>
              <a:rPr lang="en-US" dirty="0" err="1"/>
              <a:t>lecanemab</a:t>
            </a:r>
            <a:r>
              <a:rPr lang="en-US" dirty="0"/>
              <a:t> with ATP</a:t>
            </a:r>
          </a:p>
          <a:p>
            <a:pPr marL="804863" lvl="1" indent="-342900"/>
            <a:endParaRPr lang="en-US" dirty="0"/>
          </a:p>
          <a:p>
            <a:pPr marL="342900" indent="-342900"/>
            <a:r>
              <a:rPr lang="en-US" dirty="0"/>
              <a:t>Suspected</a:t>
            </a:r>
            <a:r>
              <a:rPr lang="en-US" u="sng" dirty="0"/>
              <a:t> severe </a:t>
            </a:r>
            <a:r>
              <a:rPr lang="en-US" dirty="0"/>
              <a:t>ARIA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MRI T2 FLAIR hyperintensity &gt;10 cm associated with </a:t>
            </a:r>
            <a:r>
              <a:rPr lang="en-US" dirty="0" err="1"/>
              <a:t>gyral</a:t>
            </a:r>
            <a:r>
              <a:rPr lang="en-US" dirty="0"/>
              <a:t> swelling, sulcal efface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Risk of intracerebral hemorrhage, seizure, com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reat with IV methylprednisolone 1 g daily for 5 days followed by oral tap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onsider ICU admission, continuous EEG monitor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Protocol in </a:t>
            </a:r>
            <a:r>
              <a:rPr lang="en-US" dirty="0" err="1"/>
              <a:t>Ellucid</a:t>
            </a:r>
            <a:endParaRPr lang="en-US" dirty="0"/>
          </a:p>
          <a:p>
            <a:pPr marL="342900" indent="-342900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931BE6-77C1-747B-61EE-76AF1BC3E54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BWH, MGH Departments of Neurology</a:t>
            </a:r>
          </a:p>
        </p:txBody>
      </p:sp>
    </p:spTree>
    <p:extLst>
      <p:ext uri="{BB962C8B-B14F-4D97-AF65-F5344CB8AC3E}">
        <p14:creationId xmlns:p14="http://schemas.microsoft.com/office/powerpoint/2010/main" val="29880439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D73524-9161-2569-B417-B892C6AF3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itfalls … and opportunit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CA3362-BAD6-0431-95F6-993E661732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Pitfal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ill demand outstrip our capacity? </a:t>
            </a:r>
          </a:p>
          <a:p>
            <a:pPr marL="804863" lvl="1" indent="-342900"/>
            <a:r>
              <a:rPr lang="en-US" dirty="0"/>
              <a:t>Neurologists/PCP may be uncomfortable prescribing, also neuroradiologists for ARIA</a:t>
            </a:r>
          </a:p>
          <a:p>
            <a:pPr marL="804863" lvl="1" indent="-342900"/>
            <a:r>
              <a:rPr lang="en-US" dirty="0"/>
              <a:t>Eligibility screening is resource intensive (CSF, cog assessments, genetic counseling)</a:t>
            </a:r>
          </a:p>
          <a:p>
            <a:pPr marL="804863" lvl="1" indent="-342900"/>
            <a:r>
              <a:rPr lang="en-US" dirty="0"/>
              <a:t>Safety monitoring is resource intensive (e.g., multiple MRIs, urgent visit availability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hat happens to patients who have cognitive decline but are not eligible?</a:t>
            </a:r>
          </a:p>
          <a:p>
            <a:pPr marL="804863" lvl="1" indent="-342900"/>
            <a:r>
              <a:rPr lang="en-US" dirty="0"/>
              <a:t>Increasing demand on our longitudinal servi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rotocols to ensure safety in preventing ARIA/side effects</a:t>
            </a:r>
          </a:p>
          <a:p>
            <a:pPr marL="804863" lvl="1" indent="-342900"/>
            <a:r>
              <a:rPr lang="en-US" dirty="0"/>
              <a:t>Treatment plans, 24-7 pager, open lines of communication</a:t>
            </a:r>
          </a:p>
          <a:p>
            <a:r>
              <a:rPr lang="en-US" b="1" dirty="0"/>
              <a:t>Opportuniti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an we break free from siloed care and coordinate better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ubcutaneous formulations, combination therapy, prevention (AHEAD)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Opportunities for research engagement; national registr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DE533AA-10CB-5195-1C6B-F67EBF5C7D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7E97B1-36FB-3814-80DE-6565821A22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BWH, MGH Departments of Neurology</a:t>
            </a:r>
          </a:p>
        </p:txBody>
      </p:sp>
    </p:spTree>
    <p:extLst>
      <p:ext uri="{BB962C8B-B14F-4D97-AF65-F5344CB8AC3E}">
        <p14:creationId xmlns:p14="http://schemas.microsoft.com/office/powerpoint/2010/main" val="29187422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8880A5-7520-268F-2274-18386C0C22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titude and Optimis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81072B-6F3B-F4D2-2734-369597CD83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e progresses in the clinical science of AD come from the collective efforts of many individuals</a:t>
            </a:r>
          </a:p>
          <a:p>
            <a:pPr lvl="1"/>
            <a:r>
              <a:rPr lang="en-US" dirty="0"/>
              <a:t>Researchers, clinicians</a:t>
            </a:r>
          </a:p>
          <a:p>
            <a:pPr lvl="1"/>
            <a:r>
              <a:rPr lang="en-US" dirty="0"/>
              <a:t>Public investment, private enterprise, philanthropy</a:t>
            </a:r>
          </a:p>
          <a:p>
            <a:pPr lvl="1"/>
            <a:r>
              <a:rPr lang="en-US" dirty="0"/>
              <a:t>Patients, research participants, and their famili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is is a start, but there is much, much more work to do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E26260-F832-BA0A-29A9-66A767DC35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3B8F33-FFA9-C8DB-FC75-5C9B4D2DE2E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BWH, MGH Departments of Neurology</a:t>
            </a:r>
          </a:p>
        </p:txBody>
      </p:sp>
    </p:spTree>
    <p:extLst>
      <p:ext uri="{BB962C8B-B14F-4D97-AF65-F5344CB8AC3E}">
        <p14:creationId xmlns:p14="http://schemas.microsoft.com/office/powerpoint/2010/main" val="26582188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59A0EE-C6E5-EBCC-E973-814F3F7D7A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lective effort over yea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8499A7-FBF7-7904-EB26-E33F5B790A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e plans presented reflect the tireless efforts of dozens of individuals over many years</a:t>
            </a:r>
          </a:p>
          <a:p>
            <a:pPr marL="804863" lvl="1" indent="-342900"/>
            <a:r>
              <a:rPr lang="en-US" dirty="0"/>
              <a:t>Aducanumab working group </a:t>
            </a:r>
            <a:r>
              <a:rPr lang="en-US" dirty="0">
                <a:sym typeface="Wingdings" pitchFamily="2" charset="2"/>
              </a:rPr>
              <a:t></a:t>
            </a:r>
            <a:r>
              <a:rPr lang="en-US" dirty="0"/>
              <a:t> </a:t>
            </a:r>
            <a:r>
              <a:rPr lang="en-US" dirty="0" err="1"/>
              <a:t>lecanemab</a:t>
            </a:r>
            <a:r>
              <a:rPr lang="en-US" dirty="0"/>
              <a:t> working group </a:t>
            </a:r>
            <a:r>
              <a:rPr lang="en-US" dirty="0">
                <a:sym typeface="Wingdings" pitchFamily="2" charset="2"/>
              </a:rPr>
              <a:t> ATP</a:t>
            </a:r>
            <a:endParaRPr lang="en-US" dirty="0"/>
          </a:p>
          <a:p>
            <a:pPr marL="804863" lvl="1" indent="-342900"/>
            <a:r>
              <a:rPr lang="en-US" dirty="0"/>
              <a:t>Weekly meetings for months; committees, logistical teams, multiple institutions, depts</a:t>
            </a:r>
          </a:p>
          <a:p>
            <a:pPr marL="804863" lvl="1" indent="-342900"/>
            <a:r>
              <a:rPr lang="en-US" dirty="0"/>
              <a:t>Clinicians, clinical scientists, pharmacists, radiologists, nursing, administrators, staff, I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e underlying scientific neurobiological models were pioneered he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e clinical science has been advanced he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isease-modifying therapies, especially those targeting amyloid, has grown from a vision to a plan to now a real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is is a joyful moment – there is now an option for slowing down the progression of Alzheimer disea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is is a moment of intense focus; ensuring success requires careful systems to ensure a safe, efficacious, and equitable deliver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DA52BB-512D-BFD0-7B08-C8663AF35D5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C187CF-1AFD-F760-8844-AE92D9915D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BWH, MGH Departments of Neurology</a:t>
            </a:r>
          </a:p>
        </p:txBody>
      </p:sp>
    </p:spTree>
    <p:extLst>
      <p:ext uri="{BB962C8B-B14F-4D97-AF65-F5344CB8AC3E}">
        <p14:creationId xmlns:p14="http://schemas.microsoft.com/office/powerpoint/2010/main" val="22821335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473341-C6FF-C99D-73B8-012C6EE4D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BF24FA-E53D-472C-9DEF-3BB20860B7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agers:</a:t>
            </a:r>
          </a:p>
          <a:p>
            <a:r>
              <a:rPr lang="en-US" dirty="0"/>
              <a:t>	BWH: 31439</a:t>
            </a:r>
          </a:p>
          <a:p>
            <a:r>
              <a:rPr lang="en-US" dirty="0"/>
              <a:t>	MGH: 25997</a:t>
            </a:r>
          </a:p>
          <a:p>
            <a:endParaRPr lang="en-US" dirty="0"/>
          </a:p>
          <a:p>
            <a:r>
              <a:rPr lang="en-US" dirty="0"/>
              <a:t>Email: mgbatp@mgb.org</a:t>
            </a:r>
          </a:p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3A3DE3-3EC0-3E5C-8213-D11CA5C1C0C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BWH, MGH Departments of Neurology</a:t>
            </a:r>
          </a:p>
        </p:txBody>
      </p:sp>
    </p:spTree>
    <p:extLst>
      <p:ext uri="{BB962C8B-B14F-4D97-AF65-F5344CB8AC3E}">
        <p14:creationId xmlns:p14="http://schemas.microsoft.com/office/powerpoint/2010/main" val="168306858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29886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C12D17-2F26-484B-B02F-2CEF9D0B95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EC12D17-2F26-484B-B02F-2CEF9D0B95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A35F97-E1C2-E84F-947A-50A52ED491B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40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C51B51-75C4-B849-A9D6-00722C2F86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Lecanemab</a:t>
            </a:r>
            <a:r>
              <a:rPr lang="en-US" dirty="0"/>
              <a:t> (</a:t>
            </a:r>
            <a:r>
              <a:rPr lang="en-US" dirty="0" err="1"/>
              <a:t>Leqembi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645532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6CDD4-6B09-9D4E-B578-8220F42848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6CDD4-6B09-9D4E-B578-8220F42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63F4507-1A52-3B49-A47A-AEF11172DE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248E56-61CB-CB43-BCA5-E10B505A5A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6854" y="1719072"/>
            <a:ext cx="10902950" cy="4023360"/>
          </a:xfrm>
        </p:spPr>
        <p:txBody>
          <a:bodyPr/>
          <a:lstStyle/>
          <a:p>
            <a:r>
              <a:rPr lang="en-US" b="1" dirty="0" err="1"/>
              <a:t>Lecanemab</a:t>
            </a:r>
            <a:r>
              <a:rPr lang="en-US" b="1" dirty="0"/>
              <a:t> (</a:t>
            </a:r>
            <a:r>
              <a:rPr lang="en-US" b="1" dirty="0" err="1"/>
              <a:t>Leqembi</a:t>
            </a:r>
            <a:r>
              <a:rPr lang="en-US" b="1" dirty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osing and administr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linical efficac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ide effects: ARI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dirty="0"/>
              <a:t>Alzheimer Therapeutics Program (ATP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hared care mode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Requirements before referr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How to refer in Epic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Emergency Department considerations</a:t>
            </a: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287A02-FA0B-3D41-9BA2-9C61AF2D38F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BWH, MGH Departments of Neurolo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92784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52AE0F2-4102-144F-8994-A80C28AFEA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52AE0F2-4102-144F-8994-A80C28AFEA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7B35AC9-0294-7347-84E2-3F89EF7586B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9A09BD-ACC0-BF4B-93E7-B64B4EC9C1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Lecanemab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5671B3-68B7-FF41-A00B-4A407CE22D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Monoclonal antibody given as IV infusion every two weeks to remove amyloid plaques</a:t>
            </a:r>
          </a:p>
          <a:p>
            <a:pPr marL="804863" lvl="1" indent="-342900"/>
            <a:r>
              <a:rPr lang="en-US" dirty="0"/>
              <a:t>Targets Ab oligomers and protofibrils, which are highly toxic</a:t>
            </a:r>
          </a:p>
          <a:p>
            <a:pPr marL="804863" lvl="1" indent="-342900"/>
            <a:r>
              <a:rPr lang="en-US" dirty="0"/>
              <a:t>Amyloid hypothesis – that amyloid toxicity is central to the pathophysiology of A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FDA approved for treating </a:t>
            </a:r>
            <a:r>
              <a:rPr lang="en-US" u="sng" dirty="0"/>
              <a:t>mild cognitive impairment or mild dementia due to Alzheimer disease</a:t>
            </a:r>
          </a:p>
          <a:p>
            <a:pPr marL="804863" lvl="1" indent="-342900"/>
            <a:r>
              <a:rPr lang="en-US" u="sng" dirty="0"/>
              <a:t>Mild cognitive impairment (MCI)</a:t>
            </a:r>
            <a:r>
              <a:rPr lang="en-US" dirty="0"/>
              <a:t>: abnormal cognitive testing results, but full independence in instrumental (e.g., household tasks; finances) and basic (e.g., bathing, dressing) activities of daily living (ADLs)</a:t>
            </a:r>
          </a:p>
          <a:p>
            <a:pPr marL="804863" lvl="1" indent="-342900"/>
            <a:r>
              <a:rPr lang="en-US" u="sng" dirty="0"/>
              <a:t>Mild dementia</a:t>
            </a:r>
            <a:r>
              <a:rPr lang="en-US" dirty="0"/>
              <a:t>: abnormal cognitive testing results, some dependence in instrumental ADLs, but full independence in basic ADLs</a:t>
            </a:r>
          </a:p>
          <a:p>
            <a:pPr marL="1031875" lvl="2" indent="-342900"/>
            <a:r>
              <a:rPr lang="en-US" dirty="0"/>
              <a:t>Patients with any loss of independence in basic ADLs due to cognitive impairment have moderate dementia and are not eligible for </a:t>
            </a:r>
            <a:r>
              <a:rPr lang="en-US" dirty="0" err="1"/>
              <a:t>lecanemab</a:t>
            </a:r>
            <a:endParaRPr lang="en-US" dirty="0"/>
          </a:p>
          <a:p>
            <a:pPr marL="804863" lvl="1" indent="-342900"/>
            <a:r>
              <a:rPr lang="en-US" u="sng" dirty="0"/>
              <a:t>due to Alzheimer disease:</a:t>
            </a:r>
            <a:r>
              <a:rPr lang="en-US" dirty="0"/>
              <a:t> evidence of amyloid plaques in their brain by CSF biomarkers (lumbar puncture) or by amyloid PET scan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BD70B6-B850-2D43-86FC-7A787676A93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BWH, MGH Departments of Neurolo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99202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E2A8731-E8BA-7522-F649-72D4AE3D830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0080" y="1719072"/>
            <a:ext cx="5184648" cy="4023360"/>
          </a:xfrm>
        </p:spPr>
        <p:txBody>
          <a:bodyPr>
            <a:normAutofit/>
          </a:bodyPr>
          <a:lstStyle/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900"/>
              <a:t>Large, double-blind, placebo-controlled study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900"/>
              <a:t>Who: 1766 pts across 245 sites, ~900 received </a:t>
            </a:r>
            <a:r>
              <a:rPr lang="en-US" sz="1900" err="1"/>
              <a:t>lecanemab</a:t>
            </a:r>
            <a:endParaRPr lang="en-US" sz="1900"/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900"/>
              <a:t>Diagnosis: mild cognitive impairment or mild dementia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900"/>
              <a:t>Cognitive: MMSE &gt;21, with memory loss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900"/>
              <a:t>Function: CDR global 0.5-1.0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900"/>
              <a:t>Biological: positive amyloid-PET scan or CSF markers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900"/>
              <a:t>Excluded: people with bleeding in the brain, others</a:t>
            </a:r>
          </a:p>
          <a:p>
            <a:pPr lvl="1">
              <a:lnSpc>
                <a:spcPct val="90000"/>
              </a:lnSpc>
              <a:spcAft>
                <a:spcPts val="600"/>
              </a:spcAft>
            </a:pPr>
            <a:r>
              <a:rPr lang="en-US" sz="1900"/>
              <a:t>Allowed anticoagulant use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900"/>
              <a:t>Followed for 18 month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B6D7EC0-B2D3-6E4F-4150-CCA9E12887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2825" y="2395798"/>
            <a:ext cx="5184648" cy="1970166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234AA19-7FF9-FFB0-5829-994D36F5A4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523875"/>
            <a:ext cx="10902950" cy="956516"/>
          </a:xfrm>
        </p:spPr>
        <p:txBody>
          <a:bodyPr anchor="t">
            <a:normAutofit/>
          </a:bodyPr>
          <a:lstStyle/>
          <a:p>
            <a:r>
              <a:rPr lang="en-US" dirty="0" err="1"/>
              <a:t>Lecanemab</a:t>
            </a:r>
            <a:r>
              <a:rPr lang="en-US" dirty="0"/>
              <a:t> Phase 3 Trial: CLARITY AD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D0FD684-0302-5CD9-88B8-54E971D0B31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9759" y="5838568"/>
            <a:ext cx="7058029" cy="27498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98E561-26E7-E456-170D-7E4621AE284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336324" y="6362188"/>
            <a:ext cx="7707596" cy="153888"/>
          </a:xfrm>
        </p:spPr>
        <p:txBody>
          <a:bodyPr wrap="square"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BWH, MGH Departments of Neurology</a:t>
            </a:r>
          </a:p>
        </p:txBody>
      </p:sp>
    </p:spTree>
    <p:extLst>
      <p:ext uri="{BB962C8B-B14F-4D97-AF65-F5344CB8AC3E}">
        <p14:creationId xmlns:p14="http://schemas.microsoft.com/office/powerpoint/2010/main" val="38018800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52AE0F2-4102-144F-8994-A80C28AFEA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52AE0F2-4102-144F-8994-A80C28AFEA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7B35AC9-0294-7347-84E2-3F89EF7586B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9A09BD-ACC0-BF4B-93E7-B64B4EC9C1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Lecanemab</a:t>
            </a:r>
            <a:r>
              <a:rPr lang="en-US" dirty="0"/>
              <a:t>: Phase 3 Study Resul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5671B3-68B7-FF41-A00B-4A407CE22D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8106" y="1401035"/>
            <a:ext cx="7600862" cy="111514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lacebo and </a:t>
            </a:r>
            <a:r>
              <a:rPr lang="en-US" dirty="0" err="1"/>
              <a:t>lecanemab</a:t>
            </a:r>
            <a:r>
              <a:rPr lang="en-US" dirty="0"/>
              <a:t> groups declined cognitively and functionally, but </a:t>
            </a:r>
            <a:r>
              <a:rPr lang="en-US" dirty="0" err="1"/>
              <a:t>lecanemab</a:t>
            </a:r>
            <a:r>
              <a:rPr lang="en-US" dirty="0"/>
              <a:t> group declined ~27% less over 18 month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BD70B6-B850-2D43-86FC-7A787676A93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BWH, MGH Departments of Neurology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98D7BD8-667F-BFC9-BACB-49C785DD51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Van Dyck </a:t>
            </a:r>
            <a:r>
              <a:rPr lang="en-US" i="1" dirty="0"/>
              <a:t>et al. </a:t>
            </a:r>
            <a:r>
              <a:rPr lang="en-US" dirty="0"/>
              <a:t>(2023) New </a:t>
            </a:r>
            <a:r>
              <a:rPr lang="en-US" dirty="0" err="1"/>
              <a:t>Engl</a:t>
            </a:r>
            <a:r>
              <a:rPr lang="en-US" dirty="0"/>
              <a:t> J Med 388:9-21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88FBC87-2257-EDD8-E327-44D8A934A30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4314" y="3149909"/>
            <a:ext cx="4906861" cy="278330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6420937-7564-E570-B4CD-E8B7423A3450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6495" b="16832"/>
          <a:stretch/>
        </p:blipFill>
        <p:spPr>
          <a:xfrm>
            <a:off x="5780636" y="3149908"/>
            <a:ext cx="4906861" cy="2966409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5DBECC6-A49B-73DE-BB57-8AB806D12652}"/>
              </a:ext>
            </a:extLst>
          </p:cNvPr>
          <p:cNvSpPr txBox="1">
            <a:spLocks/>
          </p:cNvSpPr>
          <p:nvPr/>
        </p:nvSpPr>
        <p:spPr>
          <a:xfrm>
            <a:off x="1157113" y="2917962"/>
            <a:ext cx="4358421" cy="4346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1963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95000"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8975" indent="-2206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‒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7575" indent="-2333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80000"/>
              <a:buFont typeface="Wingdings" pitchFamily="2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6175" indent="-2349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System Font Regular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Clinical Dementia Rating – Sum of Boxes (primary outcome):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DA79D48-6289-BEB7-F593-DBAC98552876}"/>
              </a:ext>
            </a:extLst>
          </p:cNvPr>
          <p:cNvSpPr txBox="1">
            <a:spLocks/>
          </p:cNvSpPr>
          <p:nvPr/>
        </p:nvSpPr>
        <p:spPr>
          <a:xfrm>
            <a:off x="6430153" y="2904037"/>
            <a:ext cx="5040837" cy="4346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1963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95000"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8975" indent="-2206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‒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7575" indent="-2333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80000"/>
              <a:buFont typeface="Wingdings" pitchFamily="2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6175" indent="-2349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System Font Regular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Activities of daily living (ADCS-MCI-ADL, secondary outcome):</a:t>
            </a:r>
          </a:p>
        </p:txBody>
      </p:sp>
    </p:spTree>
    <p:extLst>
      <p:ext uri="{BB962C8B-B14F-4D97-AF65-F5344CB8AC3E}">
        <p14:creationId xmlns:p14="http://schemas.microsoft.com/office/powerpoint/2010/main" val="27628462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19FB73-6A79-1861-6710-721EF5B341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Lecanemab</a:t>
            </a:r>
            <a:r>
              <a:rPr lang="en-US" dirty="0"/>
              <a:t>: Phase 3 Study Resul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B11B5C-68C6-47CB-FADD-0D36BA8090D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Lecanemab</a:t>
            </a:r>
            <a:r>
              <a:rPr lang="en-US" dirty="0"/>
              <a:t> removes amyloid effectively (PET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Lecanemab</a:t>
            </a:r>
            <a:r>
              <a:rPr lang="en-US" dirty="0"/>
              <a:t> improved biomarker profiles in CSF and blood</a:t>
            </a:r>
          </a:p>
          <a:p>
            <a:pPr marL="804863" lvl="1" indent="-342900"/>
            <a:r>
              <a:rPr lang="en-US" dirty="0"/>
              <a:t>AD-specific: total and phosphorylated tau</a:t>
            </a:r>
          </a:p>
          <a:p>
            <a:pPr marL="804863" lvl="1" indent="-342900"/>
            <a:r>
              <a:rPr lang="en-US" dirty="0"/>
              <a:t>Degenerative markers - neurogranin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B9C15BB-76F3-3112-9F9E-9504B047208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C7823B-1D5A-667B-85A8-5C5E9EDCAD1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BWH, MGH Departments of Neurology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671C68A0-B610-2514-80D9-0C12F171C8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90122" y="152870"/>
            <a:ext cx="4504267" cy="3481746"/>
          </a:xfrm>
          <a:prstGeom prst="rect">
            <a:avLst/>
          </a:prstGeom>
        </p:spPr>
      </p:pic>
      <p:pic>
        <p:nvPicPr>
          <p:cNvPr id="7" name="Content Placeholder 4">
            <a:extLst>
              <a:ext uri="{FF2B5EF4-FFF2-40B4-BE49-F238E27FC236}">
                <a16:creationId xmlns:a16="http://schemas.microsoft.com/office/drawing/2014/main" id="{974498AA-CA16-9667-0FC5-64AD9EF9631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419"/>
          <a:stretch/>
        </p:blipFill>
        <p:spPr>
          <a:xfrm>
            <a:off x="1518198" y="3641085"/>
            <a:ext cx="3971375" cy="249179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F102CA8-3B60-9964-D285-5A36D7EF66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2825" y="3621753"/>
            <a:ext cx="4351808" cy="2650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34278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52AE0F2-4102-144F-8994-A80C28AFEA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52AE0F2-4102-144F-8994-A80C28AFEA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7B35AC9-0294-7347-84E2-3F89EF7586B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9A09BD-ACC0-BF4B-93E7-B64B4EC9C1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Lecanemab</a:t>
            </a:r>
            <a:r>
              <a:rPr lang="en-US" dirty="0"/>
              <a:t>: Amyloid Related Imaging Abnormalities (ARIA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5671B3-68B7-FF41-A00B-4A407CE22D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49" y="1719072"/>
            <a:ext cx="6402917" cy="402336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Focal areas of cerebral edema (ARAI-E) and associated microhemorrhages (ARIA-H) occurring in patients on </a:t>
            </a:r>
            <a:r>
              <a:rPr lang="en-US" dirty="0" err="1"/>
              <a:t>lecanemab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Occurred in 13% of all </a:t>
            </a:r>
            <a:r>
              <a:rPr lang="en-US" dirty="0" err="1"/>
              <a:t>lecanemab</a:t>
            </a:r>
            <a:r>
              <a:rPr lang="en-US" dirty="0"/>
              <a:t>-treated clinical trial patients</a:t>
            </a:r>
          </a:p>
          <a:p>
            <a:pPr marL="804863" lvl="1" indent="-342900"/>
            <a:r>
              <a:rPr lang="en-US" dirty="0"/>
              <a:t>Highest risk in first 3-6 month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Mostly asymptomatic (&gt;70% of ARIA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ase reports of fatal or debilitating injury (risk &lt;1%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Risk factors for ARIA:</a:t>
            </a:r>
          </a:p>
          <a:p>
            <a:pPr marL="804863" lvl="1" indent="-342900"/>
            <a:r>
              <a:rPr lang="en-US" dirty="0"/>
              <a:t>Pre-treatment brain microhemorrhages (visible on MRI)</a:t>
            </a:r>
          </a:p>
          <a:p>
            <a:pPr marL="804863" lvl="1" indent="-342900"/>
            <a:r>
              <a:rPr lang="en-US" dirty="0"/>
              <a:t>Having the </a:t>
            </a:r>
            <a:r>
              <a:rPr lang="en-US" dirty="0" err="1"/>
              <a:t>ApoE</a:t>
            </a:r>
            <a:r>
              <a:rPr lang="en-US" dirty="0"/>
              <a:t> gene </a:t>
            </a:r>
            <a:r>
              <a:rPr lang="el-GR" dirty="0"/>
              <a:t>ε</a:t>
            </a:r>
            <a:r>
              <a:rPr lang="en-US" dirty="0"/>
              <a:t>4 allele (homozygotes &gt; heterozygotes &gt; non-carriers)</a:t>
            </a:r>
          </a:p>
          <a:p>
            <a:pPr marL="804863" lvl="1" indent="-342900"/>
            <a:r>
              <a:rPr lang="en-US" dirty="0"/>
              <a:t>Therapeutic anticoagul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RIA requires MRI monitor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BD70B6-B850-2D43-86FC-7A787676A93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BWH, MGH Departments of Neurology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CCD936C-4295-6885-2862-9B209E5E7E0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11433" y="2498852"/>
            <a:ext cx="5207000" cy="246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6122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zlTMbGlF.8CsAglFCv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zlTMbGlF.8CsAglFCvh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lwcW6JQaN8ERAlEYoF1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zlTMbGlF.8CsAglFCvh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zlTMbGlF.8CsAglFCv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zlTMbGlF.8CsAglFCv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xCUTrzp..khx_FJMRB_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lwcW6JQaN8ERAlEYoF1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zlTMbGlF.8CsAglFCvhA"/>
</p:tagLst>
</file>

<file path=ppt/theme/theme1.xml><?xml version="1.0" encoding="utf-8"?>
<a:theme xmlns:a="http://schemas.openxmlformats.org/drawingml/2006/main" name="MGB_standard_template_082020">
  <a:themeElements>
    <a:clrScheme name="MGB">
      <a:dk1>
        <a:srgbClr val="000000"/>
      </a:dk1>
      <a:lt1>
        <a:srgbClr val="FFFFFF"/>
      </a:lt1>
      <a:dk2>
        <a:srgbClr val="B0E3E2"/>
      </a:dk2>
      <a:lt2>
        <a:srgbClr val="808080"/>
      </a:lt2>
      <a:accent1>
        <a:srgbClr val="009AA3"/>
      </a:accent1>
      <a:accent2>
        <a:srgbClr val="003A93"/>
      </a:accent2>
      <a:accent3>
        <a:srgbClr val="0077CA"/>
      </a:accent3>
      <a:accent4>
        <a:srgbClr val="CD7F00"/>
      </a:accent4>
      <a:accent5>
        <a:srgbClr val="5C068A"/>
      </a:accent5>
      <a:accent6>
        <a:srgbClr val="CC0037"/>
      </a:accent6>
      <a:hlink>
        <a:srgbClr val="0077CA"/>
      </a:hlink>
      <a:folHlink>
        <a:srgbClr val="5C068A"/>
      </a:folHlink>
    </a:clrScheme>
    <a:fontScheme name="MGB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ass General Brigham PowerPoint  -  Read-Only" id="{C9B250EA-6A3A-4743-9E55-F4A8D1C28C77}" vid="{B0818645-C5C1-456C-B0F4-6F4958A305C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ass General Brigham PowerPoint</Template>
  <TotalTime>3227</TotalTime>
  <Words>1931</Words>
  <Application>Microsoft Macintosh PowerPoint</Application>
  <PresentationFormat>Widescreen</PresentationFormat>
  <Paragraphs>202</Paragraphs>
  <Slides>2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8" baseType="lpstr">
      <vt:lpstr>Arial</vt:lpstr>
      <vt:lpstr>Calibri</vt:lpstr>
      <vt:lpstr>Georgia</vt:lpstr>
      <vt:lpstr>System Font Regular</vt:lpstr>
      <vt:lpstr>Wingdings</vt:lpstr>
      <vt:lpstr>MGB_standard_template_082020</vt:lpstr>
      <vt:lpstr>think-cell Slide</vt:lpstr>
      <vt:lpstr>The MGB Alzheimer Therapeutics Program </vt:lpstr>
      <vt:lpstr>Collective effort over years</vt:lpstr>
      <vt:lpstr>Lecanemab (Leqembi)</vt:lpstr>
      <vt:lpstr>Outline</vt:lpstr>
      <vt:lpstr>Lecanemab</vt:lpstr>
      <vt:lpstr>Lecanemab Phase 3 Trial: CLARITY AD</vt:lpstr>
      <vt:lpstr>Lecanemab: Phase 3 Study Results</vt:lpstr>
      <vt:lpstr>Lecanemab: Phase 3 Study Results</vt:lpstr>
      <vt:lpstr>Lecanemab: Amyloid Related Imaging Abnormalities (ARIA)</vt:lpstr>
      <vt:lpstr>Alzheimer Therapeutic Program</vt:lpstr>
      <vt:lpstr>Alzheimer Therapeutics Program (ATP) Overview</vt:lpstr>
      <vt:lpstr>Shared Service Model</vt:lpstr>
      <vt:lpstr>Requirements for ATP referral</vt:lpstr>
      <vt:lpstr>PowerPoint Presentation</vt:lpstr>
      <vt:lpstr>How to refer in Epic</vt:lpstr>
      <vt:lpstr>After referral</vt:lpstr>
      <vt:lpstr>Emergency Department Considerations</vt:lpstr>
      <vt:lpstr>Pitfalls … and opportunities</vt:lpstr>
      <vt:lpstr>Gratitude and Optimism</vt:lpstr>
      <vt:lpstr>Questions?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zheimer Therapeutics Program (Lecanemab clinic)</dc:title>
  <dc:creator>Stern, Andrew M.,MD, PhD</dc:creator>
  <cp:lastModifiedBy>Brown, Christine M.</cp:lastModifiedBy>
  <cp:revision>55</cp:revision>
  <dcterms:created xsi:type="dcterms:W3CDTF">2023-07-17T13:24:05Z</dcterms:created>
  <dcterms:modified xsi:type="dcterms:W3CDTF">2023-11-02T16:15:33Z</dcterms:modified>
</cp:coreProperties>
</file>